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ags/tag31.xml" ContentType="application/vnd.openxmlformats-officedocument.presentationml.tags+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notesSlides/notesSlide4.xml" ContentType="application/vnd.openxmlformats-officedocument.presentationml.notesSlide+xml"/>
  <Override PartName="/ppt/charts/chart5.xml" ContentType="application/vnd.openxmlformats-officedocument.drawingml.chart+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5.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37.xml" ContentType="application/vnd.openxmlformats-officedocument.presentationml.tags+xml"/>
  <Override PartName="/ppt/charts/chart8.xml" ContentType="application/vnd.openxmlformats-officedocument.drawingml.chart+xml"/>
  <Override PartName="/ppt/tags/tag38.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tags/tag39.xml" ContentType="application/vnd.openxmlformats-officedocument.presentationml.tags+xml"/>
  <Override PartName="/ppt/notesSlides/notesSlide7.xml" ContentType="application/vnd.openxmlformats-officedocument.presentationml.notesSlide+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tags/tag40.xml" ContentType="application/vnd.openxmlformats-officedocument.presentationml.tags+xml"/>
  <Override PartName="/ppt/charts/chart11.xml" ContentType="application/vnd.openxmlformats-officedocument.drawingml.chart+xml"/>
  <Override PartName="/ppt/tags/tag41.xml" ContentType="application/vnd.openxmlformats-officedocument.presentationml.tags+xml"/>
  <Override PartName="/ppt/charts/chart12.xml" ContentType="application/vnd.openxmlformats-officedocument.drawingml.chart+xml"/>
  <Override PartName="/ppt/tags/tag42.xml" ContentType="application/vnd.openxmlformats-officedocument.presentationml.tags+xml"/>
  <Override PartName="/ppt/charts/chart13.xml" ContentType="application/vnd.openxmlformats-officedocument.drawingml.chart+xml"/>
  <Override PartName="/ppt/tags/tag43.xml" ContentType="application/vnd.openxmlformats-officedocument.presentationml.tags+xml"/>
  <Override PartName="/ppt/charts/chart14.xml" ContentType="application/vnd.openxmlformats-officedocument.drawingml.chart+xml"/>
  <Override PartName="/ppt/tags/tag44.xml" ContentType="application/vnd.openxmlformats-officedocument.presentationml.tags+xml"/>
  <Override PartName="/ppt/charts/chart15.xml" ContentType="application/vnd.openxmlformats-officedocument.drawingml.chart+xml"/>
  <Override PartName="/ppt/charts/style5.xml" ContentType="application/vnd.ms-office.chartstyle+xml"/>
  <Override PartName="/ppt/charts/colors5.xml" ContentType="application/vnd.ms-office.chartcolorstyle+xml"/>
  <Override PartName="/ppt/charts/chart16.xml" ContentType="application/vnd.openxmlformats-officedocument.drawingml.chart+xml"/>
  <Override PartName="/ppt/charts/style6.xml" ContentType="application/vnd.ms-office.chartstyle+xml"/>
  <Override PartName="/ppt/charts/colors6.xml" ContentType="application/vnd.ms-office.chartcolorstyle+xml"/>
  <Override PartName="/ppt/tags/tag45.xml" ContentType="application/vnd.openxmlformats-officedocument.presentationml.tags+xml"/>
  <Override PartName="/ppt/charts/chart17.xml" ContentType="application/vnd.openxmlformats-officedocument.drawingml.chart+xml"/>
  <Override PartName="/ppt/charts/style7.xml" ContentType="application/vnd.ms-office.chartstyle+xml"/>
  <Override PartName="/ppt/charts/colors7.xml" ContentType="application/vnd.ms-office.chartcolorstyle+xml"/>
  <Override PartName="/ppt/charts/chart18.xml" ContentType="application/vnd.openxmlformats-officedocument.drawingml.chart+xml"/>
  <Override PartName="/ppt/charts/style8.xml" ContentType="application/vnd.ms-office.chartstyle+xml"/>
  <Override PartName="/ppt/charts/colors8.xml" ContentType="application/vnd.ms-office.chartcolorstyle+xml"/>
  <Override PartName="/ppt/charts/chart19.xml" ContentType="application/vnd.openxmlformats-officedocument.drawingml.chart+xml"/>
  <Override PartName="/ppt/charts/style9.xml" ContentType="application/vnd.ms-office.chartstyle+xml"/>
  <Override PartName="/ppt/charts/colors9.xml" ContentType="application/vnd.ms-office.chartcolorstyle+xml"/>
  <Override PartName="/ppt/tags/tag46.xml" ContentType="application/vnd.openxmlformats-officedocument.presentationml.tags+xml"/>
  <Override PartName="/ppt/charts/chart2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2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3.xml" ContentType="application/vnd.openxmlformats-officedocument.drawingml.chart+xml"/>
  <Override PartName="/ppt/charts/style13.xml" ContentType="application/vnd.ms-office.chartstyle+xml"/>
  <Override PartName="/ppt/charts/colors13.xml" ContentType="application/vnd.ms-office.chartcolorstyle+xml"/>
  <Override PartName="/ppt/tags/tag47.xml" ContentType="application/vnd.openxmlformats-officedocument.presentationml.tags+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tags/tag48.xml" ContentType="application/vnd.openxmlformats-officedocument.presentationml.tags+xml"/>
  <Override PartName="/ppt/charts/chart26.xml" ContentType="application/vnd.openxmlformats-officedocument.drawingml.chart+xml"/>
  <Override PartName="/ppt/tags/tag49.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tags/tag50.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tags/tag51.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tags/tag52.xml" ContentType="application/vnd.openxmlformats-officedocument.presentationml.tags+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tags/tag53.xml" ContentType="application/vnd.openxmlformats-officedocument.presentationml.tags+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tags/tag54.xml" ContentType="application/vnd.openxmlformats-officedocument.presentationml.tags+xml"/>
  <Override PartName="/ppt/notesSlides/notesSlide8.xml" ContentType="application/vnd.openxmlformats-officedocument.presentationml.notesSlide+xml"/>
  <Override PartName="/ppt/charts/chart47.xml" ContentType="application/vnd.openxmlformats-officedocument.drawingml.chart+xml"/>
  <Override PartName="/ppt/charts/style16.xml" ContentType="application/vnd.ms-office.chartstyle+xml"/>
  <Override PartName="/ppt/charts/colors16.xml" ContentType="application/vnd.ms-office.chartcolorstyle+xml"/>
  <Override PartName="/ppt/tags/tag55.xml" ContentType="application/vnd.openxmlformats-officedocument.presentationml.tags+xml"/>
  <Override PartName="/ppt/notesSlides/notesSlide9.xml" ContentType="application/vnd.openxmlformats-officedocument.presentationml.notesSlide+xml"/>
  <Override PartName="/ppt/charts/chart48.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49.xml" ContentType="application/vnd.openxmlformats-officedocument.drawingml.chart+xml"/>
  <Override PartName="/ppt/charts/style18.xml" ContentType="application/vnd.ms-office.chartstyle+xml"/>
  <Override PartName="/ppt/charts/colors18.xml" ContentType="application/vnd.ms-office.chartcolorstyle+xml"/>
  <Override PartName="/ppt/tags/tag56.xml" ContentType="application/vnd.openxmlformats-officedocument.presentationml.tags+xml"/>
  <Override PartName="/ppt/notesSlides/notesSlide10.xml" ContentType="application/vnd.openxmlformats-officedocument.presentationml.notesSlide+xml"/>
  <Override PartName="/ppt/charts/chart50.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51.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52.xml" ContentType="application/vnd.openxmlformats-officedocument.drawingml.chart+xml"/>
  <Override PartName="/ppt/charts/style21.xml" ContentType="application/vnd.ms-office.chartstyle+xml"/>
  <Override PartName="/ppt/charts/colors21.xml" ContentType="application/vnd.ms-office.chartcolorstyle+xml"/>
  <Override PartName="/ppt/tags/tag57.xml" ContentType="application/vnd.openxmlformats-officedocument.presentationml.tags+xml"/>
  <Override PartName="/ppt/notesSlides/notesSlide11.xml" ContentType="application/vnd.openxmlformats-officedocument.presentationml.notesSlide+xml"/>
  <Override PartName="/ppt/charts/chart5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54.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5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56.xml" ContentType="application/vnd.openxmlformats-officedocument.drawingml.chart+xml"/>
  <Override PartName="/ppt/charts/style25.xml" ContentType="application/vnd.ms-office.chartstyle+xml"/>
  <Override PartName="/ppt/charts/colors25.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Lst>
  <p:notesMasterIdLst>
    <p:notesMasterId r:id="rId35"/>
  </p:notesMasterIdLst>
  <p:sldIdLst>
    <p:sldId id="2147329454" r:id="rId5"/>
    <p:sldId id="2147475152" r:id="rId6"/>
    <p:sldId id="2147475178" r:id="rId7"/>
    <p:sldId id="2147473013" r:id="rId8"/>
    <p:sldId id="2147475151" r:id="rId9"/>
    <p:sldId id="2147473025" r:id="rId10"/>
    <p:sldId id="2147473029" r:id="rId11"/>
    <p:sldId id="2147473030" r:id="rId12"/>
    <p:sldId id="2147378510" r:id="rId13"/>
    <p:sldId id="2147378508" r:id="rId14"/>
    <p:sldId id="2147472930" r:id="rId15"/>
    <p:sldId id="2147475193" r:id="rId16"/>
    <p:sldId id="2147378386" r:id="rId17"/>
    <p:sldId id="2147471718" r:id="rId18"/>
    <p:sldId id="2147475156" r:id="rId19"/>
    <p:sldId id="2147378154" r:id="rId20"/>
    <p:sldId id="2147378155" r:id="rId21"/>
    <p:sldId id="2147378156" r:id="rId22"/>
    <p:sldId id="2147378157" r:id="rId23"/>
    <p:sldId id="2147473882" r:id="rId24"/>
    <p:sldId id="2147475174" r:id="rId25"/>
    <p:sldId id="2147475173" r:id="rId26"/>
    <p:sldId id="2147475171" r:id="rId27"/>
    <p:sldId id="2147475170" r:id="rId28"/>
    <p:sldId id="370" r:id="rId29"/>
    <p:sldId id="2147475172" r:id="rId30"/>
    <p:sldId id="2147475182" r:id="rId31"/>
    <p:sldId id="2147475181" r:id="rId32"/>
    <p:sldId id="2147475180" r:id="rId33"/>
    <p:sldId id="2147475179" r:id="rId3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C2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C2644B-FBB3-4E70-8177-D39ED5E85D5B}" v="17" dt="2024-11-01T09:06:09.7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91" d="100"/>
          <a:sy n="91" d="100"/>
        </p:scale>
        <p:origin x="84" y="66"/>
      </p:cViewPr>
      <p:guideLst>
        <p:guide orient="horz" pos="940"/>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DEC2644B-FBB3-4E70-8177-D39ED5E85D5B}"/>
    <pc:docChg chg="custSel modSld delMainMaster">
      <pc:chgData name="Neriman EL HADIDI" userId="4b24840c-84b3-44ac-9131-ca3568cb403b" providerId="ADAL" clId="{DEC2644B-FBB3-4E70-8177-D39ED5E85D5B}" dt="2024-11-01T09:06:09.704" v="16" actId="27918"/>
      <pc:docMkLst>
        <pc:docMk/>
      </pc:docMkLst>
      <pc:sldChg chg="delSp mod">
        <pc:chgData name="Neriman EL HADIDI" userId="4b24840c-84b3-44ac-9131-ca3568cb403b" providerId="ADAL" clId="{DEC2644B-FBB3-4E70-8177-D39ED5E85D5B}" dt="2024-11-01T09:05:30.544" v="12" actId="478"/>
        <pc:sldMkLst>
          <pc:docMk/>
          <pc:sldMk cId="3644918162" sldId="370"/>
        </pc:sldMkLst>
        <pc:spChg chg="del">
          <ac:chgData name="Neriman EL HADIDI" userId="4b24840c-84b3-44ac-9131-ca3568cb403b" providerId="ADAL" clId="{DEC2644B-FBB3-4E70-8177-D39ED5E85D5B}" dt="2024-11-01T09:05:30.544" v="12" actId="478"/>
          <ac:spMkLst>
            <pc:docMk/>
            <pc:sldMk cId="3644918162" sldId="370"/>
            <ac:spMk id="2" creationId="{6F37D498-61D2-430B-0FFE-1D6053FC2C2E}"/>
          </ac:spMkLst>
        </pc:spChg>
        <pc:spChg chg="del">
          <ac:chgData name="Neriman EL HADIDI" userId="4b24840c-84b3-44ac-9131-ca3568cb403b" providerId="ADAL" clId="{DEC2644B-FBB3-4E70-8177-D39ED5E85D5B}" dt="2024-11-01T09:05:30.544" v="12" actId="478"/>
          <ac:spMkLst>
            <pc:docMk/>
            <pc:sldMk cId="3644918162" sldId="370"/>
            <ac:spMk id="3" creationId="{E672400A-1108-3E3C-7422-CBA7B51FF8C8}"/>
          </ac:spMkLst>
        </pc:spChg>
      </pc:sldChg>
      <pc:sldChg chg="modSp mod">
        <pc:chgData name="Neriman EL HADIDI" userId="4b24840c-84b3-44ac-9131-ca3568cb403b" providerId="ADAL" clId="{DEC2644B-FBB3-4E70-8177-D39ED5E85D5B}" dt="2024-11-01T09:06:09.704" v="16" actId="27918"/>
        <pc:sldMkLst>
          <pc:docMk/>
          <pc:sldMk cId="1411033201" sldId="408"/>
        </pc:sldMkLst>
        <pc:graphicFrameChg chg="mod">
          <ac:chgData name="Neriman EL HADIDI" userId="4b24840c-84b3-44ac-9131-ca3568cb403b" providerId="ADAL" clId="{DEC2644B-FBB3-4E70-8177-D39ED5E85D5B}" dt="2024-11-01T09:05:51.351" v="13"/>
          <ac:graphicFrameMkLst>
            <pc:docMk/>
            <pc:sldMk cId="1411033201" sldId="408"/>
            <ac:graphicFrameMk id="16" creationId="{1500463F-9113-F853-0F0E-F384F111BD54}"/>
          </ac:graphicFrameMkLst>
        </pc:graphicFrameChg>
      </pc:sldChg>
      <pc:sldChg chg="modSp">
        <pc:chgData name="Neriman EL HADIDI" userId="4b24840c-84b3-44ac-9131-ca3568cb403b" providerId="ADAL" clId="{DEC2644B-FBB3-4E70-8177-D39ED5E85D5B}" dt="2024-11-01T09:01:17.763" v="4"/>
        <pc:sldMkLst>
          <pc:docMk/>
          <pc:sldMk cId="2693478404" sldId="2147329454"/>
        </pc:sldMkLst>
        <pc:graphicFrameChg chg="mod">
          <ac:chgData name="Neriman EL HADIDI" userId="4b24840c-84b3-44ac-9131-ca3568cb403b" providerId="ADAL" clId="{DEC2644B-FBB3-4E70-8177-D39ED5E85D5B}" dt="2024-11-01T09:01:10.407" v="3"/>
          <ac:graphicFrameMkLst>
            <pc:docMk/>
            <pc:sldMk cId="2693478404" sldId="2147329454"/>
            <ac:graphicFrameMk id="16" creationId="{D7F2F964-1E28-4339-8493-893E64CC273B}"/>
          </ac:graphicFrameMkLst>
        </pc:graphicFrameChg>
        <pc:graphicFrameChg chg="mod">
          <ac:chgData name="Neriman EL HADIDI" userId="4b24840c-84b3-44ac-9131-ca3568cb403b" providerId="ADAL" clId="{DEC2644B-FBB3-4E70-8177-D39ED5E85D5B}" dt="2024-11-01T09:01:17.763" v="4"/>
          <ac:graphicFrameMkLst>
            <pc:docMk/>
            <pc:sldMk cId="2693478404" sldId="2147329454"/>
            <ac:graphicFrameMk id="22" creationId="{B6BC63DB-BB68-E22B-6F46-70632876165B}"/>
          </ac:graphicFrameMkLst>
        </pc:graphicFrameChg>
      </pc:sldChg>
      <pc:sldChg chg="modSp">
        <pc:chgData name="Neriman EL HADIDI" userId="4b24840c-84b3-44ac-9131-ca3568cb403b" providerId="ADAL" clId="{DEC2644B-FBB3-4E70-8177-D39ED5E85D5B}" dt="2024-11-01T09:04:49.391" v="10"/>
        <pc:sldMkLst>
          <pc:docMk/>
          <pc:sldMk cId="1340521327" sldId="2147378386"/>
        </pc:sldMkLst>
        <pc:graphicFrameChg chg="mod">
          <ac:chgData name="Neriman EL HADIDI" userId="4b24840c-84b3-44ac-9131-ca3568cb403b" providerId="ADAL" clId="{DEC2644B-FBB3-4E70-8177-D39ED5E85D5B}" dt="2024-11-01T09:04:49.391" v="10"/>
          <ac:graphicFrameMkLst>
            <pc:docMk/>
            <pc:sldMk cId="1340521327" sldId="2147378386"/>
            <ac:graphicFrameMk id="22" creationId="{BDCCA8F9-9B4E-4C69-981A-F30479D8A570}"/>
          </ac:graphicFrameMkLst>
        </pc:graphicFrameChg>
      </pc:sldChg>
      <pc:sldChg chg="modSp mod">
        <pc:chgData name="Neriman EL HADIDI" userId="4b24840c-84b3-44ac-9131-ca3568cb403b" providerId="ADAL" clId="{DEC2644B-FBB3-4E70-8177-D39ED5E85D5B}" dt="2024-11-01T09:00:54.519" v="2" actId="14100"/>
        <pc:sldMkLst>
          <pc:docMk/>
          <pc:sldMk cId="1380102355" sldId="2147378506"/>
        </pc:sldMkLst>
        <pc:graphicFrameChg chg="mod modGraphic">
          <ac:chgData name="Neriman EL HADIDI" userId="4b24840c-84b3-44ac-9131-ca3568cb403b" providerId="ADAL" clId="{DEC2644B-FBB3-4E70-8177-D39ED5E85D5B}" dt="2024-11-01T09:00:54.519" v="2" actId="14100"/>
          <ac:graphicFrameMkLst>
            <pc:docMk/>
            <pc:sldMk cId="1380102355" sldId="2147378506"/>
            <ac:graphicFrameMk id="3" creationId="{BF02A555-6E65-401F-8EC5-C5F12914697A}"/>
          </ac:graphicFrameMkLst>
        </pc:graphicFrameChg>
      </pc:sldChg>
      <pc:sldChg chg="modSp">
        <pc:chgData name="Neriman EL HADIDI" userId="4b24840c-84b3-44ac-9131-ca3568cb403b" providerId="ADAL" clId="{DEC2644B-FBB3-4E70-8177-D39ED5E85D5B}" dt="2024-11-01T09:03:55.942" v="9"/>
        <pc:sldMkLst>
          <pc:docMk/>
          <pc:sldMk cId="3546637518" sldId="2147378510"/>
        </pc:sldMkLst>
        <pc:graphicFrameChg chg="mod">
          <ac:chgData name="Neriman EL HADIDI" userId="4b24840c-84b3-44ac-9131-ca3568cb403b" providerId="ADAL" clId="{DEC2644B-FBB3-4E70-8177-D39ED5E85D5B}" dt="2024-11-01T09:03:55.942" v="9"/>
          <ac:graphicFrameMkLst>
            <pc:docMk/>
            <pc:sldMk cId="3546637518" sldId="2147378510"/>
            <ac:graphicFrameMk id="6" creationId="{903336ED-9778-D2E5-A3B1-EA932B617DB3}"/>
          </ac:graphicFrameMkLst>
        </pc:graphicFrameChg>
        <pc:graphicFrameChg chg="mod">
          <ac:chgData name="Neriman EL HADIDI" userId="4b24840c-84b3-44ac-9131-ca3568cb403b" providerId="ADAL" clId="{DEC2644B-FBB3-4E70-8177-D39ED5E85D5B}" dt="2024-11-01T09:03:47.948" v="8"/>
          <ac:graphicFrameMkLst>
            <pc:docMk/>
            <pc:sldMk cId="3546637518" sldId="2147378510"/>
            <ac:graphicFrameMk id="20" creationId="{4F1AC2C4-E03E-4D63-9CFE-5DD45DD67548}"/>
          </ac:graphicFrameMkLst>
        </pc:graphicFrameChg>
      </pc:sldChg>
      <pc:sldChg chg="modSp">
        <pc:chgData name="Neriman EL HADIDI" userId="4b24840c-84b3-44ac-9131-ca3568cb403b" providerId="ADAL" clId="{DEC2644B-FBB3-4E70-8177-D39ED5E85D5B}" dt="2024-11-01T09:04:58.900" v="11"/>
        <pc:sldMkLst>
          <pc:docMk/>
          <pc:sldMk cId="2800720980" sldId="2147471718"/>
        </pc:sldMkLst>
        <pc:graphicFrameChg chg="mod">
          <ac:chgData name="Neriman EL HADIDI" userId="4b24840c-84b3-44ac-9131-ca3568cb403b" providerId="ADAL" clId="{DEC2644B-FBB3-4E70-8177-D39ED5E85D5B}" dt="2024-11-01T09:04:58.900" v="11"/>
          <ac:graphicFrameMkLst>
            <pc:docMk/>
            <pc:sldMk cId="2800720980" sldId="2147471718"/>
            <ac:graphicFrameMk id="22" creationId="{BDCCA8F9-9B4E-4C69-981A-F30479D8A570}"/>
          </ac:graphicFrameMkLst>
        </pc:graphicFrameChg>
      </pc:sldChg>
      <pc:sldChg chg="modSp mod">
        <pc:chgData name="Neriman EL HADIDI" userId="4b24840c-84b3-44ac-9131-ca3568cb403b" providerId="ADAL" clId="{DEC2644B-FBB3-4E70-8177-D39ED5E85D5B}" dt="2024-11-01T09:06:06.280" v="15" actId="27918"/>
        <pc:sldMkLst>
          <pc:docMk/>
          <pc:sldMk cId="354591731" sldId="2147473384"/>
        </pc:sldMkLst>
        <pc:graphicFrameChg chg="mod">
          <ac:chgData name="Neriman EL HADIDI" userId="4b24840c-84b3-44ac-9131-ca3568cb403b" providerId="ADAL" clId="{DEC2644B-FBB3-4E70-8177-D39ED5E85D5B}" dt="2024-11-01T09:06:02.513" v="14"/>
          <ac:graphicFrameMkLst>
            <pc:docMk/>
            <pc:sldMk cId="354591731" sldId="2147473384"/>
            <ac:graphicFrameMk id="16" creationId="{1500463F-9113-F853-0F0E-F384F111BD54}"/>
          </ac:graphicFrameMkLst>
        </pc:graphicFrameChg>
      </pc:sldChg>
      <pc:sldChg chg="delSp mod">
        <pc:chgData name="Neriman EL HADIDI" userId="4b24840c-84b3-44ac-9131-ca3568cb403b" providerId="ADAL" clId="{DEC2644B-FBB3-4E70-8177-D39ED5E85D5B}" dt="2024-11-01T09:02:21.352" v="5" actId="478"/>
        <pc:sldMkLst>
          <pc:docMk/>
          <pc:sldMk cId="3548136992" sldId="2147475151"/>
        </pc:sldMkLst>
        <pc:spChg chg="del">
          <ac:chgData name="Neriman EL HADIDI" userId="4b24840c-84b3-44ac-9131-ca3568cb403b" providerId="ADAL" clId="{DEC2644B-FBB3-4E70-8177-D39ED5E85D5B}" dt="2024-11-01T09:02:21.352" v="5" actId="478"/>
          <ac:spMkLst>
            <pc:docMk/>
            <pc:sldMk cId="3548136992" sldId="2147475151"/>
            <ac:spMk id="13" creationId="{07164268-310E-52F7-2DCD-44921744491C}"/>
          </ac:spMkLst>
        </pc:spChg>
      </pc:sldChg>
      <pc:sldMasterChg chg="del">
        <pc:chgData name="Neriman EL HADIDI" userId="4b24840c-84b3-44ac-9131-ca3568cb403b" providerId="ADAL" clId="{DEC2644B-FBB3-4E70-8177-D39ED5E85D5B}" dt="2024-11-01T09:00:26.894" v="0" actId="2696"/>
        <pc:sldMasterMkLst>
          <pc:docMk/>
          <pc:sldMasterMk cId="823099819" sldId="2147483792"/>
        </pc:sldMasterMkLst>
      </pc:sldMasterChg>
      <pc:sldMasterChg chg="del">
        <pc:chgData name="Neriman EL HADIDI" userId="4b24840c-84b3-44ac-9131-ca3568cb403b" providerId="ADAL" clId="{DEC2644B-FBB3-4E70-8177-D39ED5E85D5B}" dt="2024-11-01T09:00:36.050" v="1" actId="2696"/>
        <pc:sldMasterMkLst>
          <pc:docMk/>
          <pc:sldMasterMk cId="2323846169" sldId="2147483844"/>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5.xml"/><Relationship Id="rId1" Type="http://schemas.microsoft.com/office/2011/relationships/chartStyle" Target="style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6.xml"/><Relationship Id="rId1" Type="http://schemas.microsoft.com/office/2011/relationships/chartStyle" Target="style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7.xml"/><Relationship Id="rId1" Type="http://schemas.microsoft.com/office/2011/relationships/chartStyle" Target="style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8.xml"/><Relationship Id="rId1" Type="http://schemas.microsoft.com/office/2011/relationships/chartStyle" Target="style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0.xml"/><Relationship Id="rId1" Type="http://schemas.microsoft.com/office/2011/relationships/chartStyle" Target="style1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1.xml"/><Relationship Id="rId1" Type="http://schemas.microsoft.com/office/2011/relationships/chartStyle" Target="style1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2.xml"/><Relationship Id="rId1" Type="http://schemas.microsoft.com/office/2011/relationships/chartStyle" Target="style1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3.xml"/><Relationship Id="rId1" Type="http://schemas.microsoft.com/office/2011/relationships/chartStyle" Target="style1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16.xml"/><Relationship Id="rId1" Type="http://schemas.microsoft.com/office/2011/relationships/chartStyle" Target="style16.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17.xml"/><Relationship Id="rId1" Type="http://schemas.microsoft.com/office/2011/relationships/chartStyle" Target="style17.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18.xml"/><Relationship Id="rId1" Type="http://schemas.microsoft.com/office/2011/relationships/chartStyle" Target="style18.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19.xml"/><Relationship Id="rId1" Type="http://schemas.microsoft.com/office/2011/relationships/chartStyle" Target="style19.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20.xml"/><Relationship Id="rId1" Type="http://schemas.microsoft.com/office/2011/relationships/chartStyle" Target="style20.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21.xml"/><Relationship Id="rId1" Type="http://schemas.microsoft.com/office/2011/relationships/chartStyle" Target="style21.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22.xml"/><Relationship Id="rId1" Type="http://schemas.microsoft.com/office/2011/relationships/chartStyle" Target="style22.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23.xml"/><Relationship Id="rId1" Type="http://schemas.microsoft.com/office/2011/relationships/chartStyle" Target="style23.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24.xml"/><Relationship Id="rId1" Type="http://schemas.microsoft.com/office/2011/relationships/chartStyle" Target="style24.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25.xml"/><Relationship Id="rId1" Type="http://schemas.microsoft.com/office/2011/relationships/chartStyle" Target="style2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89372756328472E-2"/>
          <c:y val="3.7948661595622463E-2"/>
          <c:w val="0.93691511195956778"/>
          <c:h val="0.78210123658438346"/>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B$2:$B$13</c:f>
              <c:numCache>
                <c:formatCode>General</c:formatCode>
                <c:ptCount val="12"/>
                <c:pt idx="0">
                  <c:v>0.14887630398893711</c:v>
                </c:pt>
                <c:pt idx="1">
                  <c:v>0.14753507602507279</c:v>
                </c:pt>
                <c:pt idx="2">
                  <c:v>7.5169440447029987E-2</c:v>
                </c:pt>
                <c:pt idx="3">
                  <c:v>4.1742361940454768E-2</c:v>
                </c:pt>
                <c:pt idx="4">
                  <c:v>3.0456510717473014E-2</c:v>
                </c:pt>
                <c:pt idx="5">
                  <c:v>1.8965164593235755E-2</c:v>
                </c:pt>
                <c:pt idx="6">
                  <c:v>1.6475895117738282E-2</c:v>
                </c:pt>
                <c:pt idx="7">
                  <c:v>1.4455972273459553E-2</c:v>
                </c:pt>
                <c:pt idx="8">
                  <c:v>1.4356859550613872E-2</c:v>
                </c:pt>
                <c:pt idx="9">
                  <c:v>1.4154421307888014E-2</c:v>
                </c:pt>
                <c:pt idx="10">
                  <c:v>1.3893394204016671E-2</c:v>
                </c:pt>
                <c:pt idx="11">
                  <c:v>1.143350298583968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Feature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C$2:$C$13</c:f>
              <c:numCache>
                <c:formatCode>General</c:formatCode>
                <c:ptCount val="12"/>
                <c:pt idx="0">
                  <c:v>9.1800439710634212E-3</c:v>
                </c:pt>
                <c:pt idx="1">
                  <c:v>0.2370275409572378</c:v>
                </c:pt>
                <c:pt idx="2">
                  <c:v>0.13304385637228747</c:v>
                </c:pt>
                <c:pt idx="3">
                  <c:v>5.7237173123776117E-2</c:v>
                </c:pt>
                <c:pt idx="4">
                  <c:v>0.10331603365087226</c:v>
                </c:pt>
                <c:pt idx="5">
                  <c:v>4.3563005891645391E-2</c:v>
                </c:pt>
                <c:pt idx="6">
                  <c:v>2.8912250554856692E-2</c:v>
                </c:pt>
                <c:pt idx="7">
                  <c:v>1.2316292813085248E-2</c:v>
                </c:pt>
                <c:pt idx="8">
                  <c:v>1.313011026521714E-2</c:v>
                </c:pt>
                <c:pt idx="9">
                  <c:v>2.5815096034049897E-2</c:v>
                </c:pt>
                <c:pt idx="10">
                  <c:v>1.9127019902252872E-2</c:v>
                </c:pt>
                <c:pt idx="11">
                  <c:v>1.7855771079084613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en-US"/>
          </a:p>
        </c:txPr>
        <c:crossAx val="1433501040"/>
        <c:crosses val="autoZero"/>
        <c:auto val="1"/>
        <c:lblAlgn val="ctr"/>
        <c:lblOffset val="100"/>
        <c:noMultiLvlLbl val="0"/>
      </c:catAx>
      <c:valAx>
        <c:axId val="1433501040"/>
        <c:scaling>
          <c:orientation val="minMax"/>
        </c:scaling>
        <c:delete val="1"/>
        <c:axPos val="l"/>
        <c:numFmt formatCode="0%" sourceLinked="0"/>
        <c:majorTickMark val="out"/>
        <c:minorTickMark val="none"/>
        <c:tickLblPos val="nextTo"/>
        <c:crossAx val="1837882976"/>
        <c:crosses val="autoZero"/>
        <c:crossBetween val="between"/>
      </c:valAx>
      <c:spPr>
        <a:noFill/>
        <a:ln>
          <a:noFill/>
        </a:ln>
        <a:effectLst/>
      </c:spPr>
    </c:plotArea>
    <c:legend>
      <c:legendPos val="b"/>
      <c:layout>
        <c:manualLayout>
          <c:xMode val="edge"/>
          <c:yMode val="edge"/>
          <c:x val="0.31018634592872957"/>
          <c:y val="0.9195782501361186"/>
          <c:w val="0.34355071262700604"/>
          <c:h val="8.0421749863881425E-2"/>
        </c:manualLayout>
      </c:layout>
      <c:overlay val="0"/>
      <c:spPr>
        <a:noFill/>
        <a:ln>
          <a:noFill/>
        </a:ln>
        <a:effectLst/>
      </c:spPr>
      <c:txPr>
        <a:bodyPr rot="0" vert="horz"/>
        <a:lstStyle/>
        <a:p>
          <a:pPr>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893728980341809E-2"/>
          <c:y val="4.1660304546965121E-2"/>
          <c:w val="0.93691511195956778"/>
          <c:h val="0.7820524939432844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B$2:$B$13</c:f>
              <c:numCache>
                <c:formatCode>General</c:formatCode>
                <c:ptCount val="12"/>
                <c:pt idx="0">
                  <c:v>0.14887630398893711</c:v>
                </c:pt>
                <c:pt idx="1">
                  <c:v>0.14753507602507279</c:v>
                </c:pt>
                <c:pt idx="2">
                  <c:v>7.5169440447029987E-2</c:v>
                </c:pt>
                <c:pt idx="3">
                  <c:v>4.1742361940454768E-2</c:v>
                </c:pt>
                <c:pt idx="4">
                  <c:v>3.0456510717473014E-2</c:v>
                </c:pt>
                <c:pt idx="5">
                  <c:v>1.8965164593235755E-2</c:v>
                </c:pt>
                <c:pt idx="6">
                  <c:v>1.6475895117738282E-2</c:v>
                </c:pt>
                <c:pt idx="7">
                  <c:v>1.4455972273459553E-2</c:v>
                </c:pt>
                <c:pt idx="8">
                  <c:v>1.4356859550613872E-2</c:v>
                </c:pt>
                <c:pt idx="9">
                  <c:v>1.4154421307888014E-2</c:v>
                </c:pt>
                <c:pt idx="10">
                  <c:v>1.3893394204016671E-2</c:v>
                </c:pt>
                <c:pt idx="11">
                  <c:v>1.143350298583968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Display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C$2:$C$13</c:f>
              <c:numCache>
                <c:formatCode>General</c:formatCode>
                <c:ptCount val="12"/>
                <c:pt idx="0">
                  <c:v>9.1800439710634212E-3</c:v>
                </c:pt>
                <c:pt idx="1">
                  <c:v>0.2370275409572378</c:v>
                </c:pt>
                <c:pt idx="2">
                  <c:v>0.13304385637228747</c:v>
                </c:pt>
                <c:pt idx="3">
                  <c:v>5.7237173123776117E-2</c:v>
                </c:pt>
                <c:pt idx="4">
                  <c:v>0.10331603365087226</c:v>
                </c:pt>
                <c:pt idx="5">
                  <c:v>4.3563005891645391E-2</c:v>
                </c:pt>
                <c:pt idx="6">
                  <c:v>2.8912250554856692E-2</c:v>
                </c:pt>
                <c:pt idx="7">
                  <c:v>1.2316292813085248E-2</c:v>
                </c:pt>
                <c:pt idx="8">
                  <c:v>1.313011026521714E-2</c:v>
                </c:pt>
                <c:pt idx="9">
                  <c:v>2.5815096034049897E-2</c:v>
                </c:pt>
                <c:pt idx="10">
                  <c:v>1.9127019902252872E-2</c:v>
                </c:pt>
                <c:pt idx="11">
                  <c:v>1.7855771079084613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en-US"/>
          </a:p>
        </c:txPr>
        <c:crossAx val="1433501040"/>
        <c:crosses val="autoZero"/>
        <c:auto val="1"/>
        <c:lblAlgn val="ctr"/>
        <c:lblOffset val="100"/>
        <c:noMultiLvlLbl val="0"/>
      </c:catAx>
      <c:valAx>
        <c:axId val="1433501040"/>
        <c:scaling>
          <c:orientation val="minMax"/>
        </c:scaling>
        <c:delete val="1"/>
        <c:axPos val="l"/>
        <c:numFmt formatCode="0%" sourceLinked="0"/>
        <c:majorTickMark val="out"/>
        <c:minorTickMark val="none"/>
        <c:tickLblPos val="nextTo"/>
        <c:crossAx val="1837882976"/>
        <c:crosses val="autoZero"/>
        <c:crossBetween val="between"/>
      </c:valAx>
      <c:spPr>
        <a:noFill/>
        <a:ln>
          <a:noFill/>
        </a:ln>
        <a:effectLst/>
      </c:spPr>
    </c:plotArea>
    <c:legend>
      <c:legendPos val="b"/>
      <c:layout>
        <c:manualLayout>
          <c:xMode val="edge"/>
          <c:yMode val="edge"/>
          <c:x val="0.36596513476788334"/>
          <c:y val="0.92935175768467493"/>
          <c:w val="0.26493263520201288"/>
          <c:h val="6.3586476328904809E-2"/>
        </c:manualLayout>
      </c:layout>
      <c:overlay val="0"/>
      <c:spPr>
        <a:noFill/>
        <a:ln>
          <a:noFill/>
        </a:ln>
        <a:effectLst/>
      </c:spPr>
      <c:txPr>
        <a:bodyPr rot="0" vert="horz"/>
        <a:lstStyle/>
        <a:p>
          <a:pPr>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38621105571207E-2"/>
          <c:y val="0.22640674019619741"/>
          <c:w val="0.96604631207450631"/>
          <c:h val="0.763809605187395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2A09-4FFC-9D4D-9CC3F6B2DEDD}"/>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2A09-4FFC-9D4D-9CC3F6B2DEDD}"/>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11845961320117E-2"/>
          <c:y val="0"/>
          <c:w val="0.96437630807735975"/>
          <c:h val="0.85225155098855032"/>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7F1C-42D6-AB69-34F16F98F945}"/>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7F1C-42D6-AB69-34F16F98F945}"/>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4E00-47D8-B98F-F888755F1F0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4E00-47D8-B98F-F888755F1F0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0F35-47AC-8F76-BEFC330A665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5424</c:v>
                </c:pt>
                <c:pt idx="1">
                  <c:v>7694</c:v>
                </c:pt>
                <c:pt idx="2">
                  <c:v>8064</c:v>
                </c:pt>
                <c:pt idx="3">
                  <c:v>6105</c:v>
                </c:pt>
                <c:pt idx="4">
                  <c:v>4306</c:v>
                </c:pt>
                <c:pt idx="5">
                  <c:v>3336</c:v>
                </c:pt>
                <c:pt idx="6">
                  <c:v>3409</c:v>
                </c:pt>
                <c:pt idx="7">
                  <c:v>3185</c:v>
                </c:pt>
                <c:pt idx="8">
                  <c:v>3633</c:v>
                </c:pt>
                <c:pt idx="9">
                  <c:v>5065</c:v>
                </c:pt>
                <c:pt idx="10">
                  <c:v>5831</c:v>
                </c:pt>
                <c:pt idx="11">
                  <c:v>6041</c:v>
                </c:pt>
                <c:pt idx="12">
                  <c:v>5872</c:v>
                </c:pt>
                <c:pt idx="13">
                  <c:v>5386</c:v>
                </c:pt>
                <c:pt idx="14">
                  <c:v>5546</c:v>
                </c:pt>
                <c:pt idx="15">
                  <c:v>5797</c:v>
                </c:pt>
                <c:pt idx="16">
                  <c:v>3841</c:v>
                </c:pt>
                <c:pt idx="17">
                  <c:v>4474</c:v>
                </c:pt>
                <c:pt idx="18">
                  <c:v>4046</c:v>
                </c:pt>
                <c:pt idx="19">
                  <c:v>5739</c:v>
                </c:pt>
                <c:pt idx="20">
                  <c:v>4628</c:v>
                </c:pt>
                <c:pt idx="21">
                  <c:v>4043</c:v>
                </c:pt>
                <c:pt idx="22">
                  <c:v>3040</c:v>
                </c:pt>
                <c:pt idx="23">
                  <c:v>3112</c:v>
                </c:pt>
                <c:pt idx="24">
                  <c:v>2948</c:v>
                </c:pt>
                <c:pt idx="25">
                  <c:v>4052</c:v>
                </c:pt>
                <c:pt idx="26">
                  <c:v>340</c:v>
                </c:pt>
                <c:pt idx="27">
                  <c:v>406</c:v>
                </c:pt>
                <c:pt idx="28">
                  <c:v>554</c:v>
                </c:pt>
                <c:pt idx="29">
                  <c:v>3932</c:v>
                </c:pt>
                <c:pt idx="30">
                  <c:v>1999</c:v>
                </c:pt>
                <c:pt idx="31">
                  <c:v>2003</c:v>
                </c:pt>
                <c:pt idx="32">
                  <c:v>1782</c:v>
                </c:pt>
                <c:pt idx="33">
                  <c:v>2538</c:v>
                </c:pt>
                <c:pt idx="34">
                  <c:v>2795</c:v>
                </c:pt>
                <c:pt idx="35">
                  <c:v>3057</c:v>
                </c:pt>
                <c:pt idx="36">
                  <c:v>3241</c:v>
                </c:pt>
                <c:pt idx="37">
                  <c:v>2863</c:v>
                </c:pt>
                <c:pt idx="38">
                  <c:v>1742</c:v>
                </c:pt>
                <c:pt idx="39">
                  <c:v>1306</c:v>
                </c:pt>
                <c:pt idx="40">
                  <c:v>1600</c:v>
                </c:pt>
                <c:pt idx="41">
                  <c:v>3084</c:v>
                </c:pt>
                <c:pt idx="42">
                  <c:v>3587</c:v>
                </c:pt>
                <c:pt idx="43">
                  <c:v>3988</c:v>
                </c:pt>
                <c:pt idx="44">
                  <c:v>4116</c:v>
                </c:pt>
                <c:pt idx="45">
                  <c:v>4336</c:v>
                </c:pt>
                <c:pt idx="46">
                  <c:v>4213</c:v>
                </c:pt>
                <c:pt idx="47">
                  <c:v>4087</c:v>
                </c:pt>
                <c:pt idx="48">
                  <c:v>3314</c:v>
                </c:pt>
                <c:pt idx="49">
                  <c:v>3821</c:v>
                </c:pt>
                <c:pt idx="50">
                  <c:v>1905</c:v>
                </c:pt>
                <c:pt idx="51">
                  <c:v>4601</c:v>
                </c:pt>
                <c:pt idx="52">
                  <c:v>4532</c:v>
                </c:pt>
                <c:pt idx="53">
                  <c:v>4419</c:v>
                </c:pt>
                <c:pt idx="54">
                  <c:v>2489</c:v>
                </c:pt>
                <c:pt idx="55">
                  <c:v>2345</c:v>
                </c:pt>
                <c:pt idx="56">
                  <c:v>3038</c:v>
                </c:pt>
                <c:pt idx="57">
                  <c:v>4255</c:v>
                </c:pt>
                <c:pt idx="58">
                  <c:v>2925</c:v>
                </c:pt>
                <c:pt idx="59">
                  <c:v>2021</c:v>
                </c:pt>
                <c:pt idx="60">
                  <c:v>2115</c:v>
                </c:pt>
                <c:pt idx="61">
                  <c:v>4184</c:v>
                </c:pt>
                <c:pt idx="62">
                  <c:v>4940</c:v>
                </c:pt>
                <c:pt idx="63">
                  <c:v>5689</c:v>
                </c:pt>
                <c:pt idx="64">
                  <c:v>4866</c:v>
                </c:pt>
                <c:pt idx="65">
                  <c:v>4303</c:v>
                </c:pt>
                <c:pt idx="66">
                  <c:v>796</c:v>
                </c:pt>
                <c:pt idx="67">
                  <c:v>1015</c:v>
                </c:pt>
                <c:pt idx="68">
                  <c:v>575</c:v>
                </c:pt>
                <c:pt idx="69">
                  <c:v>4545</c:v>
                </c:pt>
                <c:pt idx="70">
                  <c:v>4789</c:v>
                </c:pt>
                <c:pt idx="71">
                  <c:v>4266</c:v>
                </c:pt>
                <c:pt idx="72">
                  <c:v>2262</c:v>
                </c:pt>
                <c:pt idx="73">
                  <c:v>2375</c:v>
                </c:pt>
                <c:pt idx="74">
                  <c:v>2028</c:v>
                </c:pt>
                <c:pt idx="75">
                  <c:v>2504</c:v>
                </c:pt>
                <c:pt idx="76">
                  <c:v>2759</c:v>
                </c:pt>
                <c:pt idx="77">
                  <c:v>1963</c:v>
                </c:pt>
                <c:pt idx="78">
                  <c:v>4173</c:v>
                </c:pt>
                <c:pt idx="79">
                  <c:v>2978</c:v>
                </c:pt>
                <c:pt idx="80">
                  <c:v>1941</c:v>
                </c:pt>
                <c:pt idx="81">
                  <c:v>1887</c:v>
                </c:pt>
                <c:pt idx="82">
                  <c:v>2078</c:v>
                </c:pt>
                <c:pt idx="83">
                  <c:v>3320</c:v>
                </c:pt>
                <c:pt idx="84">
                  <c:v>3041</c:v>
                </c:pt>
                <c:pt idx="85">
                  <c:v>2780</c:v>
                </c:pt>
                <c:pt idx="86">
                  <c:v>2988</c:v>
                </c:pt>
                <c:pt idx="87">
                  <c:v>2273</c:v>
                </c:pt>
                <c:pt idx="88">
                  <c:v>2301</c:v>
                </c:pt>
                <c:pt idx="89">
                  <c:v>2298</c:v>
                </c:pt>
                <c:pt idx="90">
                  <c:v>2674</c:v>
                </c:pt>
                <c:pt idx="91">
                  <c:v>2660</c:v>
                </c:pt>
                <c:pt idx="92">
                  <c:v>2819</c:v>
                </c:pt>
                <c:pt idx="93">
                  <c:v>2652</c:v>
                </c:pt>
                <c:pt idx="94">
                  <c:v>2536</c:v>
                </c:pt>
                <c:pt idx="95">
                  <c:v>2688</c:v>
                </c:pt>
                <c:pt idx="96">
                  <c:v>2415</c:v>
                </c:pt>
                <c:pt idx="97">
                  <c:v>2043</c:v>
                </c:pt>
                <c:pt idx="98">
                  <c:v>2222</c:v>
                </c:pt>
                <c:pt idx="99">
                  <c:v>2956</c:v>
                </c:pt>
                <c:pt idx="100">
                  <c:v>436</c:v>
                </c:pt>
                <c:pt idx="101">
                  <c:v>545</c:v>
                </c:pt>
                <c:pt idx="102">
                  <c:v>411</c:v>
                </c:pt>
                <c:pt idx="103">
                  <c:v>2657</c:v>
                </c:pt>
              </c:numCache>
            </c:numRef>
          </c:val>
          <c:extLst>
            <c:ext xmlns:c16="http://schemas.microsoft.com/office/drawing/2014/chart" uri="{C3380CC4-5D6E-409C-BE32-E72D297353CC}">
              <c16:uniqueId val="{00000000-F61D-48BC-8F2C-2427BC9DB9F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788</c:v>
                </c:pt>
                <c:pt idx="1">
                  <c:v>10958</c:v>
                </c:pt>
                <c:pt idx="2">
                  <c:v>13555</c:v>
                </c:pt>
                <c:pt idx="3">
                  <c:v>12297</c:v>
                </c:pt>
                <c:pt idx="4">
                  <c:v>11165</c:v>
                </c:pt>
                <c:pt idx="5">
                  <c:v>8783</c:v>
                </c:pt>
                <c:pt idx="6">
                  <c:v>9989</c:v>
                </c:pt>
                <c:pt idx="7">
                  <c:v>5529</c:v>
                </c:pt>
                <c:pt idx="8">
                  <c:v>6362</c:v>
                </c:pt>
                <c:pt idx="9">
                  <c:v>5893</c:v>
                </c:pt>
                <c:pt idx="10">
                  <c:v>2544</c:v>
                </c:pt>
                <c:pt idx="11">
                  <c:v>225</c:v>
                </c:pt>
                <c:pt idx="12">
                  <c:v>584</c:v>
                </c:pt>
                <c:pt idx="13">
                  <c:v>546</c:v>
                </c:pt>
                <c:pt idx="14">
                  <c:v>178</c:v>
                </c:pt>
                <c:pt idx="15">
                  <c:v>26</c:v>
                </c:pt>
                <c:pt idx="16">
                  <c:v>16345</c:v>
                </c:pt>
                <c:pt idx="17">
                  <c:v>18415</c:v>
                </c:pt>
                <c:pt idx="18">
                  <c:v>6514</c:v>
                </c:pt>
                <c:pt idx="19">
                  <c:v>96</c:v>
                </c:pt>
                <c:pt idx="20">
                  <c:v>4622</c:v>
                </c:pt>
                <c:pt idx="21">
                  <c:v>6267</c:v>
                </c:pt>
                <c:pt idx="22">
                  <c:v>8289</c:v>
                </c:pt>
                <c:pt idx="23">
                  <c:v>8461</c:v>
                </c:pt>
                <c:pt idx="24">
                  <c:v>3085</c:v>
                </c:pt>
                <c:pt idx="25">
                  <c:v>202</c:v>
                </c:pt>
                <c:pt idx="26">
                  <c:v>13498</c:v>
                </c:pt>
                <c:pt idx="27">
                  <c:v>17015</c:v>
                </c:pt>
                <c:pt idx="28">
                  <c:v>7966</c:v>
                </c:pt>
                <c:pt idx="29">
                  <c:v>43</c:v>
                </c:pt>
                <c:pt idx="30">
                  <c:v>8668</c:v>
                </c:pt>
                <c:pt idx="31">
                  <c:v>9714</c:v>
                </c:pt>
                <c:pt idx="32">
                  <c:v>5639</c:v>
                </c:pt>
                <c:pt idx="33">
                  <c:v>2928</c:v>
                </c:pt>
                <c:pt idx="34">
                  <c:v>1384</c:v>
                </c:pt>
                <c:pt idx="35">
                  <c:v>312</c:v>
                </c:pt>
                <c:pt idx="36">
                  <c:v>527</c:v>
                </c:pt>
                <c:pt idx="37">
                  <c:v>554</c:v>
                </c:pt>
                <c:pt idx="38">
                  <c:v>7510</c:v>
                </c:pt>
                <c:pt idx="39">
                  <c:v>10610</c:v>
                </c:pt>
                <c:pt idx="40">
                  <c:v>3797</c:v>
                </c:pt>
                <c:pt idx="41">
                  <c:v>108</c:v>
                </c:pt>
                <c:pt idx="42">
                  <c:v>112</c:v>
                </c:pt>
                <c:pt idx="43">
                  <c:v>120</c:v>
                </c:pt>
                <c:pt idx="44">
                  <c:v>64</c:v>
                </c:pt>
                <c:pt idx="45">
                  <c:v>76</c:v>
                </c:pt>
                <c:pt idx="46">
                  <c:v>54</c:v>
                </c:pt>
                <c:pt idx="47">
                  <c:v>52</c:v>
                </c:pt>
                <c:pt idx="48">
                  <c:v>12536</c:v>
                </c:pt>
                <c:pt idx="49">
                  <c:v>16121</c:v>
                </c:pt>
                <c:pt idx="50">
                  <c:v>7616</c:v>
                </c:pt>
                <c:pt idx="51">
                  <c:v>25</c:v>
                </c:pt>
                <c:pt idx="52">
                  <c:v>45</c:v>
                </c:pt>
                <c:pt idx="53">
                  <c:v>22</c:v>
                </c:pt>
                <c:pt idx="54">
                  <c:v>13220</c:v>
                </c:pt>
                <c:pt idx="55">
                  <c:v>12617</c:v>
                </c:pt>
                <c:pt idx="56">
                  <c:v>3521</c:v>
                </c:pt>
                <c:pt idx="57">
                  <c:v>56</c:v>
                </c:pt>
                <c:pt idx="58">
                  <c:v>4188</c:v>
                </c:pt>
                <c:pt idx="59">
                  <c:v>4176</c:v>
                </c:pt>
                <c:pt idx="60">
                  <c:v>5584</c:v>
                </c:pt>
                <c:pt idx="61">
                  <c:v>8227</c:v>
                </c:pt>
                <c:pt idx="62">
                  <c:v>2884</c:v>
                </c:pt>
                <c:pt idx="63">
                  <c:v>172</c:v>
                </c:pt>
                <c:pt idx="64">
                  <c:v>167</c:v>
                </c:pt>
                <c:pt idx="65">
                  <c:v>111</c:v>
                </c:pt>
                <c:pt idx="66">
                  <c:v>19061</c:v>
                </c:pt>
                <c:pt idx="67">
                  <c:v>22806</c:v>
                </c:pt>
                <c:pt idx="68">
                  <c:v>10136</c:v>
                </c:pt>
                <c:pt idx="69">
                  <c:v>275</c:v>
                </c:pt>
                <c:pt idx="70">
                  <c:v>263</c:v>
                </c:pt>
                <c:pt idx="71">
                  <c:v>280</c:v>
                </c:pt>
                <c:pt idx="72">
                  <c:v>5159</c:v>
                </c:pt>
                <c:pt idx="73">
                  <c:v>7463</c:v>
                </c:pt>
                <c:pt idx="74">
                  <c:v>6894</c:v>
                </c:pt>
                <c:pt idx="75">
                  <c:v>5402</c:v>
                </c:pt>
                <c:pt idx="76">
                  <c:v>6667</c:v>
                </c:pt>
                <c:pt idx="77">
                  <c:v>4448</c:v>
                </c:pt>
                <c:pt idx="78">
                  <c:v>2013</c:v>
                </c:pt>
                <c:pt idx="79">
                  <c:v>87</c:v>
                </c:pt>
                <c:pt idx="80">
                  <c:v>7287</c:v>
                </c:pt>
                <c:pt idx="81">
                  <c:v>10948</c:v>
                </c:pt>
                <c:pt idx="82">
                  <c:v>3570</c:v>
                </c:pt>
                <c:pt idx="83">
                  <c:v>38</c:v>
                </c:pt>
                <c:pt idx="84">
                  <c:v>10</c:v>
                </c:pt>
                <c:pt idx="85">
                  <c:v>10</c:v>
                </c:pt>
                <c:pt idx="86">
                  <c:v>703</c:v>
                </c:pt>
                <c:pt idx="87">
                  <c:v>3282</c:v>
                </c:pt>
                <c:pt idx="88">
                  <c:v>3401</c:v>
                </c:pt>
                <c:pt idx="89">
                  <c:v>1288</c:v>
                </c:pt>
                <c:pt idx="90">
                  <c:v>42</c:v>
                </c:pt>
                <c:pt idx="91">
                  <c:v>34</c:v>
                </c:pt>
                <c:pt idx="92">
                  <c:v>10</c:v>
                </c:pt>
                <c:pt idx="93">
                  <c:v>8</c:v>
                </c:pt>
                <c:pt idx="94">
                  <c:v>11610</c:v>
                </c:pt>
                <c:pt idx="95">
                  <c:v>13969</c:v>
                </c:pt>
                <c:pt idx="96">
                  <c:v>4174</c:v>
                </c:pt>
                <c:pt idx="97">
                  <c:v>9270</c:v>
                </c:pt>
                <c:pt idx="98">
                  <c:v>3242</c:v>
                </c:pt>
                <c:pt idx="99">
                  <c:v>0</c:v>
                </c:pt>
                <c:pt idx="100">
                  <c:v>9868</c:v>
                </c:pt>
                <c:pt idx="101">
                  <c:v>12410</c:v>
                </c:pt>
                <c:pt idx="102">
                  <c:v>5436</c:v>
                </c:pt>
                <c:pt idx="103">
                  <c:v>45</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6F53-47D1-94A7-6E320397265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DD3D-4642-97D9-E9DEC2D41E7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74F043BD-8E81-4760-BA31-9262D3E0C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085E5740-FCE8-46E0-B60E-09EEEA4A5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76709DB3-0060-4C93-A22E-9A2EE4709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EFD8F532-4349-47DF-A68D-1C2A52528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184758CF-3AFD-4DB7-B3AC-1175A8907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03C8A808-9134-43A2-BBCA-E138E6D446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20268479-D676-456B-8DBA-4194AA9A3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732E4036-69D2-4127-A8CA-D0DD622AE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0D798E54-5438-4323-AEC3-1A6B43319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10065615-F6D2-469B-A1FE-327876B45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20D72AB4-52A8-4F5A-A9F4-03EDA5FBA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57B5FC07-A7B7-4B13-993B-E82764EB92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C3552749-AB3F-4262-B25F-3CDD5FEDF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37687E5D-7BFD-49E3-8E7E-EDE9634924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DF3DB7DA-5648-4AC8-974A-00582ADE28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B3F0B9E8-65D8-4344-8A10-2C567A253A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D65304A3-4CFD-4273-ACAB-04855F47B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09DE41F2-535C-43EF-B627-2B79424B4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D5F8D9DC-7339-4038-B89A-7359732EC8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1F1FB654-5BA5-473E-9D48-8C08DA33B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6C4CDB49-173C-4076-9EBD-E0B66FAC6A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B0423371-FD6E-4A96-B888-FC61C55A7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E9AFF60C-64CA-4F2C-ACC2-A9CDB80F39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2D137C62-EFA7-4E01-ABDE-4539BA7AA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F66A76B2-5AAA-4925-9271-29C9976EED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3BB7C1DF-DCAC-4A08-B7E7-1C70DF1644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513B78D4-1639-4533-A3C0-43923FCFD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039AF331-FA13-4C60-9AF0-88FF54E52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417502C9-86C5-4D02-B23E-8C5D60A69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3488DE28-9557-4A49-9899-4FFE2FBE0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646BCE35-B439-4979-823F-8E2783F91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6DD7B75C-358F-4DFE-9C36-2EC813C1D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DF9240A6-84B7-4D0F-B836-A75D0AED5C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2E8466F1-4014-48DE-A77D-45A6C0EDD7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2FA60727-D9B1-4723-8F5D-49F222D31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5D782975-177A-4275-AEA5-2C6228D34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A99BC6DE-C314-4379-9E6F-5B68D6A9D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BBF21576-F96A-446B-9DA3-42637CDA8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CE5B7781-4D83-46D8-BA52-AF05B66B2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9419307C-EB0B-402F-9425-6BE46E569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FF04FB34-1502-4456-9907-22009440F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B9B547EA-5BA8-49B3-97B8-DD0C75BB7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6C83573E-1AEC-4023-AD14-8A5DCAB147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44440DCF-4E89-4782-AD00-AB2609FBD2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B2EF5CFE-91D6-485F-ABF3-C22E7E76F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1EE75687-B1AA-4D55-BCBD-58BB1B4C4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161AAF65-9D2A-4292-84FF-0380911D5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9D62EDB4-7FDB-46AF-A48F-81F142D08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8CFF6DAA-FFF5-4291-809B-BB174DA47D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4E1669A4-8915-41EC-9E74-47F7D5D14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AF80D2FA-47C7-46BA-BDD2-60D8EE46C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419C00FD-05CB-4BDC-9A05-572718429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8969C1DC-239C-441E-B0D4-86930AF65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448E305A-36C1-48C8-9183-80B827610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B1F3C554-ACCE-4177-9240-9ED7F23FA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66E74201-7879-4A84-8765-83A4A7BD28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57CD4B13-6174-4999-8D56-ED5308A8FE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61BBA6B2-9F47-4731-A3DE-60450ACFF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6EEB2C14-1519-48DA-8BF3-C03250925B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2F66B325-129D-4991-BB98-E0E2565A8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3DDA990C-7E40-4ACB-9A83-6BE757057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499E33F0-D3E2-4C3F-A608-69116F5E3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28983E85-009D-4924-AC9F-F5F5E62CA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E5DD1B67-BAF0-4486-B689-FFAED1F1D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D9A683D5-2461-4CF6-BB59-16D0FEDC13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795A75B3-5289-4EDA-8E8C-1625649D3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82469E56-8D47-4268-9DC6-77B24C0611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9959EB2A-C3E4-454D-8F58-9FA08EE645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E9E5C0FF-227B-4A44-A4F0-35ECC14DC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C1E2AAF2-C296-4C39-99D0-544780304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1DB2D99F-7599-4D0F-98CD-FACDCE509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63B642EE-7546-4CBD-AC75-2D482501E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17DB4438-B241-4D23-8D4A-273B9F0A89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70F7BE7C-9CA7-4BFF-AC36-6455CB3B26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BECA9713-62C1-4A59-B723-877E4A083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BA1356C8-2137-455D-963A-D71B0FFA8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562FE780-B8DF-48D6-8F99-7D3CD8185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81F475EB-04C8-40C3-A8A7-7258EC7F0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64186C0A-5163-4810-85AB-9FC3425AF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A67ADF8A-DA84-483D-BE6A-E797AE665A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4E6762B1-9C40-4B29-9168-1F66B71C2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9BA529C4-5CD7-4A3E-87C2-C212DBDE2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494C28ED-2233-4F10-A1A9-D81EDC44E1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149F468E-FFC0-4821-B2B8-8E6ACC3BB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DC61E1DF-1D5B-42C3-945E-E32A9E9065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9163FB0C-A03B-4F00-8271-E1628181D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D5DF0916-14B9-4558-B7CB-B86C3D4D2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AE920A86-7887-44CD-9820-97813257E4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16193637-3AF8-4800-8182-0FD6C2660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5E5EAF6A-00A8-4AD7-B7B8-99CB6FF8AD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683C20E4-DB58-498C-BA7F-BACC89F38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E5EB1EC7-7064-40B0-9905-E5E1CAC3A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76CC52A4-34B7-4A9C-9F70-005F2F99C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461D96F7-41B0-45EB-A9BD-75A0780199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D788EC0B-72FB-4335-8C38-E3451E0D12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AA909506-517B-4083-B1D1-DADD49819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EFCA7790-8A1A-4B25-A448-2EC3E86CF4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7A60C8A9-9415-49EE-B299-22C205F7A0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2B6A398D-0C7D-41DE-A814-CFF24A9D4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07DFF93F-D83C-46BC-A484-172C3ED81D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3733A329-6321-43B4-89C0-3E8709FFC6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6367777E-7CDF-4CDA-9082-25807C4D2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38EA44CB-4D35-425D-B8CE-8182E7263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44B2CE40-2B29-41B0-8B74-4C548FFC0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7FE3B5DD-98C3-4825-8B5B-E0259D832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2F8CDB84-2032-45F5-96B2-49F941924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C66E337A-777C-483F-A6C3-710BCB54D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92102D16-4585-409F-9DDC-F393AEDCA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854D61B8-0ECF-4053-8C5D-06FB495F8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815AE6BF-4EAB-4373-847D-BCA143EF8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1BCDB450-0380-4F23-9CB9-ED872449C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0EC8E09B-944B-4472-8890-A94B438F2B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52947F00-FBBC-41A1-8CC1-429FC64E53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CFF0AD2C-C8BD-4C4D-BD2F-758F0F58BD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85B4DDF1-C589-424C-98D0-47ADCF1A9E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B272677E-C9DB-46D2-B84E-5C0AB25E97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0-9B64-4614-A4EF-2F0C825129C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0-21BF-47A7-B366-E3F0AD114BCE}"/>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0-3CBE-4AE8-80EA-8E325A05E683}"/>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D010-4ADB-9B73-BF9B36FE3842}"/>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E$1</c:f>
              <c:strCache>
                <c:ptCount val="1"/>
                <c:pt idx="0">
                  <c:v>Nrgb</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E$2:$E$37</c:f>
              <c:numCache>
                <c:formatCode>0%</c:formatCode>
                <c:ptCount val="36"/>
                <c:pt idx="0">
                  <c:v>0.97346623595315596</c:v>
                </c:pt>
                <c:pt idx="1">
                  <c:v>1.0813626903488831</c:v>
                </c:pt>
                <c:pt idx="2">
                  <c:v>1.3072521133945396</c:v>
                </c:pt>
                <c:pt idx="3">
                  <c:v>1.3561873664469997</c:v>
                </c:pt>
                <c:pt idx="4">
                  <c:v>1.0898344432297895</c:v>
                </c:pt>
                <c:pt idx="5">
                  <c:v>0.88818527580076378</c:v>
                </c:pt>
                <c:pt idx="6">
                  <c:v>0.82040801349671721</c:v>
                </c:pt>
                <c:pt idx="7">
                  <c:v>0.92884068947869902</c:v>
                </c:pt>
                <c:pt idx="8">
                  <c:v>0.70958580508109725</c:v>
                </c:pt>
                <c:pt idx="9">
                  <c:v>0.62519713036216695</c:v>
                </c:pt>
                <c:pt idx="10">
                  <c:v>0.74014261308297413</c:v>
                </c:pt>
                <c:pt idx="11">
                  <c:v>0.94458038542152689</c:v>
                </c:pt>
                <c:pt idx="12">
                  <c:v>1.1010776516684742</c:v>
                </c:pt>
                <c:pt idx="13">
                  <c:v>1.2038247347286628</c:v>
                </c:pt>
                <c:pt idx="14">
                  <c:v>1.3819916874247298</c:v>
                </c:pt>
                <c:pt idx="15">
                  <c:v>1.4659290315492048</c:v>
                </c:pt>
                <c:pt idx="16">
                  <c:v>1.0938482636191424</c:v>
                </c:pt>
                <c:pt idx="17">
                  <c:v>0.97774590008408524</c:v>
                </c:pt>
                <c:pt idx="18">
                  <c:v>0.83163780148087829</c:v>
                </c:pt>
                <c:pt idx="19">
                  <c:v>0.92443899549705777</c:v>
                </c:pt>
                <c:pt idx="20">
                  <c:v>0.74983994709141588</c:v>
                </c:pt>
                <c:pt idx="21">
                  <c:v>0.64691968696880864</c:v>
                </c:pt>
                <c:pt idx="22">
                  <c:v>0.75565548841350183</c:v>
                </c:pt>
                <c:pt idx="23">
                  <c:v>0.88878856229882952</c:v>
                </c:pt>
                <c:pt idx="24">
                  <c:v>1.0291509922797555</c:v>
                </c:pt>
                <c:pt idx="25">
                  <c:v>1.1249568456998233</c:v>
                </c:pt>
                <c:pt idx="26">
                  <c:v>1.4078546885182839</c:v>
                </c:pt>
                <c:pt idx="27">
                  <c:v>1.4831419063050926</c:v>
                </c:pt>
                <c:pt idx="28">
                  <c:v>1.1973999712167878</c:v>
                </c:pt>
                <c:pt idx="29">
                  <c:v>0.95702186544084877</c:v>
                </c:pt>
                <c:pt idx="30">
                  <c:v>0.78691274365855679</c:v>
                </c:pt>
                <c:pt idx="31">
                  <c:v>0.97235730210829541</c:v>
                </c:pt>
                <c:pt idx="32">
                  <c:v>0.91585505205963347</c:v>
                </c:pt>
                <c:pt idx="33">
                  <c:v>0.9285825080337341</c:v>
                </c:pt>
                <c:pt idx="34">
                  <c:v>0.99989489099506379</c:v>
                </c:pt>
                <c:pt idx="35">
                  <c:v>1.1556675489115686</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D$1</c:f>
              <c:strCache>
                <c:ptCount val="1"/>
                <c:pt idx="0">
                  <c:v>Can</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D$2:$D$37</c:f>
              <c:numCache>
                <c:formatCode>0%</c:formatCode>
                <c:ptCount val="36"/>
                <c:pt idx="0">
                  <c:v>0.97735978615950803</c:v>
                </c:pt>
                <c:pt idx="1">
                  <c:v>1.083530041128921</c:v>
                </c:pt>
                <c:pt idx="2">
                  <c:v>1.3669011866997434</c:v>
                </c:pt>
                <c:pt idx="3">
                  <c:v>1.3536110961997165</c:v>
                </c:pt>
                <c:pt idx="4">
                  <c:v>1.0282181550884235</c:v>
                </c:pt>
                <c:pt idx="5">
                  <c:v>0.89833467402918188</c:v>
                </c:pt>
                <c:pt idx="6">
                  <c:v>0.81859239811754014</c:v>
                </c:pt>
                <c:pt idx="7">
                  <c:v>0.8507952229424296</c:v>
                </c:pt>
                <c:pt idx="8">
                  <c:v>0.73762939503577918</c:v>
                </c:pt>
                <c:pt idx="9">
                  <c:v>0.68218881682196497</c:v>
                </c:pt>
                <c:pt idx="10">
                  <c:v>0.7575796813250365</c:v>
                </c:pt>
                <c:pt idx="11">
                  <c:v>0.92055483630650836</c:v>
                </c:pt>
                <c:pt idx="12">
                  <c:v>1.0915680840017985</c:v>
                </c:pt>
                <c:pt idx="13">
                  <c:v>1.1929137612785661</c:v>
                </c:pt>
                <c:pt idx="14">
                  <c:v>1.3948021002648652</c:v>
                </c:pt>
                <c:pt idx="15">
                  <c:v>1.4188639801888696</c:v>
                </c:pt>
                <c:pt idx="16">
                  <c:v>1.0783770646851871</c:v>
                </c:pt>
                <c:pt idx="17">
                  <c:v>0.97033613215978043</c:v>
                </c:pt>
                <c:pt idx="18">
                  <c:v>0.85675401083014457</c:v>
                </c:pt>
                <c:pt idx="19">
                  <c:v>0.89843213710149927</c:v>
                </c:pt>
                <c:pt idx="20">
                  <c:v>0.73048896520605999</c:v>
                </c:pt>
                <c:pt idx="21">
                  <c:v>0.66703125832099486</c:v>
                </c:pt>
                <c:pt idx="22">
                  <c:v>0.74060926482889589</c:v>
                </c:pt>
                <c:pt idx="23">
                  <c:v>0.86104337079131998</c:v>
                </c:pt>
                <c:pt idx="24">
                  <c:v>1.0180034856251248</c:v>
                </c:pt>
                <c:pt idx="25">
                  <c:v>1.1633321402422965</c:v>
                </c:pt>
                <c:pt idx="26">
                  <c:v>1.3983819729257696</c:v>
                </c:pt>
                <c:pt idx="27">
                  <c:v>1.4382841999907983</c:v>
                </c:pt>
                <c:pt idx="28">
                  <c:v>1.2147328953855996</c:v>
                </c:pt>
                <c:pt idx="29">
                  <c:v>1.0064172304867123</c:v>
                </c:pt>
                <c:pt idx="30">
                  <c:v>0.84639471783698872</c:v>
                </c:pt>
                <c:pt idx="31">
                  <c:v>0.91528049835943937</c:v>
                </c:pt>
                <c:pt idx="32">
                  <c:v>0.84244983935623963</c:v>
                </c:pt>
                <c:pt idx="33">
                  <c:v>0.92038639532838662</c:v>
                </c:pt>
                <c:pt idx="34">
                  <c:v>1.0481721229143046</c:v>
                </c:pt>
                <c:pt idx="35">
                  <c:v>1.1889916424010691</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132F51A1-AE10-4E19-B1B5-7328B3B6DDA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7BDC5539-31E4-43F5-A919-FB6CCABA1F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44DB6F7A-C5AE-4D55-86A4-A3EA1AC031B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442B8076-0E3E-47D7-ABB3-953A295B2AA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929D21C0-CC6D-482C-8799-F2A9C8CA5B1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419ADC85-E701-4FE4-A1BE-9FDCE5360D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95F7EDBC-22F8-4E45-8BD2-A69FA6455AF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C5CD0FC7-354B-4836-8D23-45873DE88F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8F6C249E-0AF8-4989-896C-BA6A3D50262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7568F50E-9421-4F30-A8F1-66B6C6EFD35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1D0A66F0-4A1B-4DA6-A3B3-633A8EE3F8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E7EE2149-7F8B-4E6D-9829-CE709FCD3C4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673099AF-C721-4BEF-A645-05E407507BA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D096AE07-B107-4015-8F17-D585AF72D3A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F77BE467-3B6C-4EB9-AB44-4DF59320791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27FD4C88-D16E-4839-ABEC-BF9CF948083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82F200E9-9B52-44E6-890B-92C8754EC2E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935EC97A-90C9-4964-A491-C6D4B275CDB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81AACA7C-FC6B-4FBB-A58E-4BE4332BD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80C6D6A5-8CAB-4634-AF3A-C18F1F2B69C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E729A1AD-A90F-4DD8-92BC-4D2375B6557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691E1074-793A-4C7D-A53D-3A00143B90D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B33231D8-291F-44D1-AD58-55028F4C8BC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66C3CDBB-1ACD-446C-B674-7747B0764D8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193FBD17-5883-44C5-BFD2-A4274E31DB2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0E2C0A4D-8025-4E7C-AFFC-147FC7A4E3A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56E37644-56C2-4CEE-9B1C-133DCC41A55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B57ABE38-B436-4BEA-BCAD-148369789CD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77B8E219-32D2-4234-A6E6-837233BBE2B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A60C3791-F052-4A77-A153-946A353D9B1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4009B360-8B48-447F-A7B0-96383881442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D697D636-EED8-4F3D-94AA-28FC85ADC19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96EC38FC-56AA-4ADD-9229-CC19984895F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C2036C10-BDD4-40BC-8EB1-2572FBD44D2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E1617997-209E-4316-AA9A-194329E9A08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7C06930C-A4F8-4D08-95D2-6EE6B995A0D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7C6727B6-AB08-4736-9872-F929EAC1D54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823CC0C3-9EDA-4AF9-9CCF-15A24481D5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22F8617B-8AB0-4D66-AD8D-40DE373C0D5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A9D3F30F-72B5-479C-80EC-63FDB98EAE2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9B7C3ABE-ABE3-4AEA-BEA8-F498F721BD3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0C4A2495-6AF1-4807-99C7-A2523BE025E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C3E2E4BF-3F27-48F7-A496-B438D78D51E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8BF26AB4-DA41-41A4-AA34-762D09DBD72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856E6BCF-ED15-4295-B30E-34CB90E5D11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A2749631-B052-4939-979C-12A7E7C526F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A0CD9A61-E8CA-4D31-856A-BD744D5747D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4E6FFF72-DCFD-4809-BE7B-28C323CAC29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H$1</c:f>
              <c:strCache>
                <c:ptCount val="1"/>
                <c:pt idx="0">
                  <c:v>Total Beer</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H$2:$H$37</c:f>
              <c:numCache>
                <c:formatCode>0%</c:formatCode>
                <c:ptCount val="36"/>
                <c:pt idx="0">
                  <c:v>0.95546131454801952</c:v>
                </c:pt>
                <c:pt idx="1">
                  <c:v>1.0658820616078615</c:v>
                </c:pt>
                <c:pt idx="2">
                  <c:v>1.2845151692566505</c:v>
                </c:pt>
                <c:pt idx="3">
                  <c:v>1.3313017548720483</c:v>
                </c:pt>
                <c:pt idx="4">
                  <c:v>1.1068184803119951</c:v>
                </c:pt>
                <c:pt idx="5">
                  <c:v>0.94899677223263834</c:v>
                </c:pt>
                <c:pt idx="6">
                  <c:v>0.83477183537813959</c:v>
                </c:pt>
                <c:pt idx="7">
                  <c:v>0.84011161209200691</c:v>
                </c:pt>
                <c:pt idx="8">
                  <c:v>0.77917016473858225</c:v>
                </c:pt>
                <c:pt idx="9">
                  <c:v>0.71206172491546882</c:v>
                </c:pt>
                <c:pt idx="10">
                  <c:v>0.81106709556909162</c:v>
                </c:pt>
                <c:pt idx="11">
                  <c:v>0.9277477499727792</c:v>
                </c:pt>
                <c:pt idx="12">
                  <c:v>1.0920086483852394</c:v>
                </c:pt>
                <c:pt idx="13">
                  <c:v>1.1645640879461192</c:v>
                </c:pt>
                <c:pt idx="14">
                  <c:v>1.3394712489027132</c:v>
                </c:pt>
                <c:pt idx="15">
                  <c:v>1.385364724773833</c:v>
                </c:pt>
                <c:pt idx="16">
                  <c:v>1.09543210519944</c:v>
                </c:pt>
                <c:pt idx="17">
                  <c:v>0.98674858460748094</c:v>
                </c:pt>
                <c:pt idx="18">
                  <c:v>0.84917082857101733</c:v>
                </c:pt>
                <c:pt idx="19">
                  <c:v>0.85719303641823441</c:v>
                </c:pt>
                <c:pt idx="20">
                  <c:v>0.78197004161366457</c:v>
                </c:pt>
                <c:pt idx="21">
                  <c:v>0.69703071129708638</c:v>
                </c:pt>
                <c:pt idx="22">
                  <c:v>0.79071387982439756</c:v>
                </c:pt>
                <c:pt idx="23">
                  <c:v>0.88455450114308931</c:v>
                </c:pt>
                <c:pt idx="24">
                  <c:v>1.0196652421871197</c:v>
                </c:pt>
                <c:pt idx="25">
                  <c:v>1.1154654321101694</c:v>
                </c:pt>
                <c:pt idx="26">
                  <c:v>1.3246385889547703</c:v>
                </c:pt>
                <c:pt idx="27">
                  <c:v>1.3903689367482381</c:v>
                </c:pt>
                <c:pt idx="28">
                  <c:v>1.2142901567469886</c:v>
                </c:pt>
                <c:pt idx="29">
                  <c:v>1.0101815115591093</c:v>
                </c:pt>
                <c:pt idx="30">
                  <c:v>0.86238905481134409</c:v>
                </c:pt>
                <c:pt idx="31">
                  <c:v>0.90873194300402316</c:v>
                </c:pt>
                <c:pt idx="32">
                  <c:v>0.90889323356956364</c:v>
                </c:pt>
                <c:pt idx="33">
                  <c:v>0.95210305170981779</c:v>
                </c:pt>
                <c:pt idx="34">
                  <c:v>1.0118490056185914</c:v>
                </c:pt>
                <c:pt idx="35">
                  <c:v>1.1271547091020271</c:v>
                </c:pt>
              </c:numCache>
            </c:numRef>
          </c:val>
          <c:extLst>
            <c:ext xmlns:c16="http://schemas.microsoft.com/office/drawing/2014/chart" uri="{C3380CC4-5D6E-409C-BE32-E72D297353CC}">
              <c16:uniqueId val="{00000001-0A2C-49BD-A8FC-8FC0C3CC6F8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E$1</c:f>
              <c:strCache>
                <c:ptCount val="1"/>
                <c:pt idx="0">
                  <c:v>Nrgb</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E$2:$E$37</c:f>
              <c:numCache>
                <c:formatCode>0%</c:formatCode>
                <c:ptCount val="36"/>
                <c:pt idx="0">
                  <c:v>0.97346623595315596</c:v>
                </c:pt>
                <c:pt idx="1">
                  <c:v>1.0813626903488831</c:v>
                </c:pt>
                <c:pt idx="2">
                  <c:v>1.3072521133945396</c:v>
                </c:pt>
                <c:pt idx="3">
                  <c:v>1.3561873664469997</c:v>
                </c:pt>
                <c:pt idx="4">
                  <c:v>1.0898344432297895</c:v>
                </c:pt>
                <c:pt idx="5">
                  <c:v>0.88818527580076378</c:v>
                </c:pt>
                <c:pt idx="6">
                  <c:v>0.82040801349671721</c:v>
                </c:pt>
                <c:pt idx="7">
                  <c:v>0.92884068947869902</c:v>
                </c:pt>
                <c:pt idx="8">
                  <c:v>0.70958580508109725</c:v>
                </c:pt>
                <c:pt idx="9">
                  <c:v>0.62519713036216695</c:v>
                </c:pt>
                <c:pt idx="10">
                  <c:v>0.74014261308297413</c:v>
                </c:pt>
                <c:pt idx="11">
                  <c:v>0.94458038542152689</c:v>
                </c:pt>
                <c:pt idx="12">
                  <c:v>1.1010776516684742</c:v>
                </c:pt>
                <c:pt idx="13">
                  <c:v>1.2038247347286628</c:v>
                </c:pt>
                <c:pt idx="14">
                  <c:v>1.3819916874247298</c:v>
                </c:pt>
                <c:pt idx="15">
                  <c:v>1.4659290315492048</c:v>
                </c:pt>
                <c:pt idx="16">
                  <c:v>1.0938482636191424</c:v>
                </c:pt>
                <c:pt idx="17">
                  <c:v>0.97774590008408524</c:v>
                </c:pt>
                <c:pt idx="18">
                  <c:v>0.83163780148087829</c:v>
                </c:pt>
                <c:pt idx="19">
                  <c:v>0.92443899549705777</c:v>
                </c:pt>
                <c:pt idx="20">
                  <c:v>0.74983994709141588</c:v>
                </c:pt>
                <c:pt idx="21">
                  <c:v>0.64691968696880864</c:v>
                </c:pt>
                <c:pt idx="22">
                  <c:v>0.75565548841350183</c:v>
                </c:pt>
                <c:pt idx="23">
                  <c:v>0.88878856229882952</c:v>
                </c:pt>
                <c:pt idx="24">
                  <c:v>1.0291509922797555</c:v>
                </c:pt>
                <c:pt idx="25">
                  <c:v>1.1249568456998233</c:v>
                </c:pt>
                <c:pt idx="26">
                  <c:v>1.4078546885182839</c:v>
                </c:pt>
                <c:pt idx="27">
                  <c:v>1.4831419063050926</c:v>
                </c:pt>
                <c:pt idx="28">
                  <c:v>1.1973999712167878</c:v>
                </c:pt>
                <c:pt idx="29">
                  <c:v>0.95702186544084877</c:v>
                </c:pt>
                <c:pt idx="30">
                  <c:v>0.78691274365855679</c:v>
                </c:pt>
                <c:pt idx="31">
                  <c:v>0.97235730210829541</c:v>
                </c:pt>
                <c:pt idx="32">
                  <c:v>0.91585505205963347</c:v>
                </c:pt>
                <c:pt idx="33">
                  <c:v>0.9285825080337341</c:v>
                </c:pt>
                <c:pt idx="34">
                  <c:v>0.99989489099506379</c:v>
                </c:pt>
                <c:pt idx="35">
                  <c:v>1.1556675489115686</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D$1</c:f>
              <c:strCache>
                <c:ptCount val="1"/>
                <c:pt idx="0">
                  <c:v>Can</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D$2:$D$37</c:f>
              <c:numCache>
                <c:formatCode>0%</c:formatCode>
                <c:ptCount val="36"/>
                <c:pt idx="0">
                  <c:v>0.97735978615950803</c:v>
                </c:pt>
                <c:pt idx="1">
                  <c:v>1.083530041128921</c:v>
                </c:pt>
                <c:pt idx="2">
                  <c:v>1.3669011866997434</c:v>
                </c:pt>
                <c:pt idx="3">
                  <c:v>1.3536110961997165</c:v>
                </c:pt>
                <c:pt idx="4">
                  <c:v>1.0282181550884235</c:v>
                </c:pt>
                <c:pt idx="5">
                  <c:v>0.89833467402918188</c:v>
                </c:pt>
                <c:pt idx="6">
                  <c:v>0.81859239811754014</c:v>
                </c:pt>
                <c:pt idx="7">
                  <c:v>0.8507952229424296</c:v>
                </c:pt>
                <c:pt idx="8">
                  <c:v>0.73762939503577918</c:v>
                </c:pt>
                <c:pt idx="9">
                  <c:v>0.68218881682196497</c:v>
                </c:pt>
                <c:pt idx="10">
                  <c:v>0.7575796813250365</c:v>
                </c:pt>
                <c:pt idx="11">
                  <c:v>0.92055483630650836</c:v>
                </c:pt>
                <c:pt idx="12">
                  <c:v>1.0915680840017985</c:v>
                </c:pt>
                <c:pt idx="13">
                  <c:v>1.1929137612785661</c:v>
                </c:pt>
                <c:pt idx="14">
                  <c:v>1.3948021002648652</c:v>
                </c:pt>
                <c:pt idx="15">
                  <c:v>1.4188639801888696</c:v>
                </c:pt>
                <c:pt idx="16">
                  <c:v>1.0783770646851871</c:v>
                </c:pt>
                <c:pt idx="17">
                  <c:v>0.97033613215978043</c:v>
                </c:pt>
                <c:pt idx="18">
                  <c:v>0.85675401083014457</c:v>
                </c:pt>
                <c:pt idx="19">
                  <c:v>0.89843213710149927</c:v>
                </c:pt>
                <c:pt idx="20">
                  <c:v>0.73048896520605999</c:v>
                </c:pt>
                <c:pt idx="21">
                  <c:v>0.66703125832099486</c:v>
                </c:pt>
                <c:pt idx="22">
                  <c:v>0.74060926482889589</c:v>
                </c:pt>
                <c:pt idx="23">
                  <c:v>0.86104337079131998</c:v>
                </c:pt>
                <c:pt idx="24">
                  <c:v>1.0180034856251248</c:v>
                </c:pt>
                <c:pt idx="25">
                  <c:v>1.1633321402422965</c:v>
                </c:pt>
                <c:pt idx="26">
                  <c:v>1.3983819729257696</c:v>
                </c:pt>
                <c:pt idx="27">
                  <c:v>1.4382841999907983</c:v>
                </c:pt>
                <c:pt idx="28">
                  <c:v>1.2147328953855996</c:v>
                </c:pt>
                <c:pt idx="29">
                  <c:v>1.0064172304867123</c:v>
                </c:pt>
                <c:pt idx="30">
                  <c:v>0.84639471783698872</c:v>
                </c:pt>
                <c:pt idx="31">
                  <c:v>0.91528049835943937</c:v>
                </c:pt>
                <c:pt idx="32">
                  <c:v>0.84244983935623963</c:v>
                </c:pt>
                <c:pt idx="33">
                  <c:v>0.92038639532838662</c:v>
                </c:pt>
                <c:pt idx="34">
                  <c:v>1.0481721229143046</c:v>
                </c:pt>
                <c:pt idx="35">
                  <c:v>1.1889916424010691</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A5C6A0BC-D2EF-484D-B676-03B1AC4AEC4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F170299B-C718-41AC-8861-8DCE853362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3D0121A2-5E63-48BC-A5D6-977E6478652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1350369B-4373-4528-AF77-0EC1604B061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6D204820-4D68-4A50-A4AB-57A91D5D4A2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C3CCC28A-20EE-4275-AE88-09D2418C6EF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478F706E-5077-40A8-BE23-009F5E9B22C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E582B502-A3D8-4359-9932-8421A7AF571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9313EBCB-20E0-4FA9-959F-75F61E7C55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6E341076-A6FE-4811-90DF-40AA7E5003C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885537DC-519B-4361-9D1B-7AA6B5694D8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D6BF5CC9-651F-4B64-9AFA-1A735313702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DDEDC6CA-081A-472A-96EF-6A73133493F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216E1A8B-60BE-404A-8950-868622E64CD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182FF66B-2416-4065-B166-CCEFC2AA67F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615FBE2F-B313-43E9-A670-D9E4218ECE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C738-4A3D-98BB-3D0CBF671497}"/>
                </c:ext>
              </c:extLst>
            </c:dLbl>
            <c:dLbl>
              <c:idx val="25"/>
              <c:tx>
                <c:rich>
                  <a:bodyPr/>
                  <a:lstStyle/>
                  <a:p>
                    <a:fld id="{3755D66B-82C9-49F3-8B51-B77084B4063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0686903F-4E50-4097-BDFB-88355A8B18B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0506BEF4-4E38-4676-A002-E6DB6266DBA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412FF541-73DF-46D7-9F04-29195B6C5FF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B99983E3-F8B0-4985-A67E-0A1AC929CE0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72F31972-F79E-4A6C-A244-15BD752DF0D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8BE0FF6B-C8A1-4CB2-A9A5-BDAD4A32719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8A95479C-2EFD-4BAA-81D0-A0A4098D3FA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765792DA-D949-4AF6-8314-A8FAEACACD8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1559B190-B876-4C69-9203-943E4D726A3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673B27E2-BF24-40A0-95B2-59B39588158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E373AB27-7B19-48ED-9C80-5EC73C78895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B5901F54-F7C6-4094-92DC-C5963FFAF47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C738-4A3D-98BB-3D0CBF671497}"/>
                </c:ext>
              </c:extLst>
            </c:dLbl>
            <c:dLbl>
              <c:idx val="49"/>
              <c:tx>
                <c:rich>
                  <a:bodyPr/>
                  <a:lstStyle/>
                  <a:p>
                    <a:fld id="{92D5C5D2-809A-4641-ABD8-977083AA982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BBE064F9-046C-426C-9A8E-BD224D70D4A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690C6B98-FFDB-4EB4-BFD0-F2740DC2722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B24B8392-A900-4B13-B979-519785B56F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FD6E598B-FDF1-466D-93FA-D6C12EB686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A136E16E-C7B7-4195-9048-87D02CAB58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9C9EE2F1-50C1-427E-BCCF-B544473BBB3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4DA471B3-7DFB-4E0A-984A-B89DD18917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83CB634C-7ED8-400F-A15A-36A2ED7451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BC81C0A8-C977-49FB-BE1F-99D62728F0C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D41AB723-2B78-4568-A88E-A3D5B5787F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376A6CF2-C71B-4353-A155-282EF004E30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1A0F412A-FA6A-4B8F-BD2C-61F7BC2E0EC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FB978C11-FDDB-4145-84D9-E46BDA6011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CB9B6729-7C62-437B-AE96-2980A3CF07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0BE1131D-2296-4CFC-8D1A-85848F3D365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8103A91B-0548-4F64-A851-62C3CA5D426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2A9933C4-069B-44D4-BADC-884BDC1AB8E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B8D0C62C-9D84-402A-A139-0053E7D2753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EEE10EA7-2F46-41E0-B727-4659927BD39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381A2413-6BD0-4079-8C9A-481B6378603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77171F00-EB86-4328-82B1-A253971B9B0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65F2C9AB-FBE1-4475-8267-7D1C6EF7D4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3797D993-3437-4E3E-9172-1E30AB15C0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18B03B16-DC24-4A2F-90BF-B04EE35455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43AC5E2C-2C6E-4B0A-B0A6-725B45459BA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397F4EA1-2B28-421A-A9AA-0038E7CD15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9B0A2945-B53A-47D6-A2B5-342E0DF9F3E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3D517965-DC9C-4FE5-9F3D-30F3967F19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5B93807C-D0E8-41E5-B352-72FA8D878E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75E6D122-44CC-4DA8-91DB-166E340ACC0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EC82682B-471C-48F2-8F6D-70EF6A0662F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B77E-4F29-87DF-0FE64D0B037A}"/>
                </c:ext>
              </c:extLst>
            </c:dLbl>
            <c:dLbl>
              <c:idx val="49"/>
              <c:tx>
                <c:rich>
                  <a:bodyPr/>
                  <a:lstStyle/>
                  <a:p>
                    <a:fld id="{8DAE423A-3D64-4F9A-AEC7-47FFAC8645D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BA4B591C-F0A7-4E74-BA72-B381A8B5D8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943619FA-0CF8-4C50-937F-AA394ADE577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EE883770-9D4E-4B83-9FFE-8EA4646E1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88203872-A666-4B23-BE59-343E4F3A0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7403FF2E-6F9C-4B43-9E57-2F56C3A3E6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E58BD12F-80A3-47D3-921D-B6B7FBA6F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40715C13-8351-4B79-A41F-C22BDB135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5469C0D4-D256-45A5-9397-6DEED438E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1B24B374-0E05-4106-92AD-0A856E9DD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4DFFEB57-598F-48E3-91CD-D60EFC659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38FCB61F-D70C-40D5-89A5-86D99AABBC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32AD0517-60EB-4872-BF17-5D2AEF9E74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B460AE7A-E0BB-422E-89E8-224341886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F29E4AF6-B102-4B8B-AA9A-79AE23953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B7520C01-95CA-47F3-80BE-51527AA57C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B148534D-D68C-452E-81ED-4B4B268BF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D3660D03-99B5-4CA1-9783-FF39743F44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FFB2D5D8-FDFA-49D5-AA06-B69094FA7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C3FD529E-40C1-4CC4-B54A-495781AD1E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C6CF0A6F-78C7-4C2D-BB5B-994724519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AFCD6B9B-1DA7-4456-95F8-49C6BE234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7D7E1480-D8F1-4D14-A2A2-F4D05A671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595B22C4-7359-41EF-B378-D64B365708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76206748-6DF3-4E70-A201-CAC9FF077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22112C32-F0B0-44E2-8643-C05949E7E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7D704A3E-12FF-471D-BB9E-74AC28A2C5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84319662-86BD-431E-A634-8855EE081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F8CDC92B-1056-4F69-BBA9-5E5E08AAA6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89988DC1-7670-46B2-923B-7BF575C635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9A6DC58B-5A2B-4D11-BFA7-9A6F2743D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1888927F-13C7-465C-91E1-1613593D2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826A3FC3-681C-474E-86CF-301BFBA133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BF296BD6-2FBD-4A16-81FE-0745CE38AD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0C27F656-F1D4-47DE-9E7A-2D4C4BEAD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DD28A609-BBAD-4B6E-A023-6E232926B9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F9AF785E-7E86-496A-A8BB-CF2F529E6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32742FC0-C95A-45FB-B3AD-F4D7D0D01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7ACCE0ED-0339-4507-876A-8E2E96A5AE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82FBBB50-227C-41B7-910D-17D3F14FF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026B6B3A-EC3E-421D-8978-EC00550CB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7BFA4132-209C-43EA-9C14-1410013F0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FC2F811D-65E1-4E58-9F07-ABD624C2B9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D86A0646-16F9-43B6-B080-91ACAA375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A706573A-0292-4FBD-9E52-2112437DC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EFFE11CF-837F-42A6-B710-61B5BBFA3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BFF2B47D-0E2C-44FB-947E-19E3F66E8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E5862810-E6D4-4C03-8AAD-E28232916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1E0C7435-D0F2-404A-8186-B3D2E6EE3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72CF3AA5-0E15-4851-A355-41E970E947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5687A7B4-D7EE-4099-94B9-38FD47962AE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F3F-4891-A588-66FCA4279EF0}"/>
                </c:ext>
              </c:extLst>
            </c:dLbl>
            <c:dLbl>
              <c:idx val="1"/>
              <c:tx>
                <c:rich>
                  <a:bodyPr/>
                  <a:lstStyle/>
                  <a:p>
                    <a:fld id="{A2D59A40-F473-4A77-970A-2089CCFBE68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F3F-4891-A588-66FCA4279EF0}"/>
                </c:ext>
              </c:extLst>
            </c:dLbl>
            <c:dLbl>
              <c:idx val="2"/>
              <c:delete val="1"/>
              <c:extLst>
                <c:ext xmlns:c15="http://schemas.microsoft.com/office/drawing/2012/chart" uri="{CE6537A1-D6FC-4f65-9D91-7224C49458BB}"/>
                <c:ext xmlns:c16="http://schemas.microsoft.com/office/drawing/2014/chart" uri="{C3380CC4-5D6E-409C-BE32-E72D297353CC}">
                  <c16:uniqueId val="{00000002-6F3F-4891-A588-66FCA4279EF0}"/>
                </c:ext>
              </c:extLst>
            </c:dLbl>
            <c:dLbl>
              <c:idx val="3"/>
              <c:tx>
                <c:rich>
                  <a:bodyPr/>
                  <a:lstStyle/>
                  <a:p>
                    <a:fld id="{719FBD2B-728C-4441-8571-15220D409A5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6F3F-4891-A588-66FCA4279EF0}"/>
                </c:ext>
              </c:extLst>
            </c:dLbl>
            <c:dLbl>
              <c:idx val="4"/>
              <c:tx>
                <c:rich>
                  <a:bodyPr/>
                  <a:lstStyle/>
                  <a:p>
                    <a:fld id="{0C8D38AE-71B9-428A-A7CE-6660F93A4FD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6F3F-4891-A588-66FCA4279EF0}"/>
                </c:ext>
              </c:extLst>
            </c:dLbl>
            <c:dLbl>
              <c:idx val="5"/>
              <c:tx>
                <c:rich>
                  <a:bodyPr/>
                  <a:lstStyle/>
                  <a:p>
                    <a:fld id="{44B70F89-0EE7-4DC5-A7DB-5E73A7C3752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6F3F-4891-A588-66FCA4279EF0}"/>
                </c:ext>
              </c:extLst>
            </c:dLbl>
            <c:dLbl>
              <c:idx val="6"/>
              <c:tx>
                <c:rich>
                  <a:bodyPr/>
                  <a:lstStyle/>
                  <a:p>
                    <a:fld id="{25D5150F-8680-452E-8BE6-90A2734664C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6F3F-4891-A588-66FCA4279EF0}"/>
                </c:ext>
              </c:extLst>
            </c:dLbl>
            <c:dLbl>
              <c:idx val="7"/>
              <c:tx>
                <c:rich>
                  <a:bodyPr/>
                  <a:lstStyle/>
                  <a:p>
                    <a:fld id="{D1F7C3D8-CA88-4387-BF66-8D6BEFBCE06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6F3F-4891-A588-66FCA4279EF0}"/>
                </c:ext>
              </c:extLst>
            </c:dLbl>
            <c:dLbl>
              <c:idx val="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6F3F-4891-A588-66FCA4279EF0}"/>
                </c:ext>
              </c:extLst>
            </c:dLbl>
            <c:dLbl>
              <c:idx val="9"/>
              <c:tx>
                <c:rich>
                  <a:bodyPr/>
                  <a:lstStyle/>
                  <a:p>
                    <a:fld id="{1845B9FF-9A4D-402C-B332-B94C54F667B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6F3F-4891-A588-66FCA4279EF0}"/>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6F3F-4891-A588-66FCA4279EF0}"/>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6F3F-4891-A588-66FCA4279EF0}"/>
                </c:ext>
              </c:extLst>
            </c:dLbl>
            <c:dLbl>
              <c:idx val="12"/>
              <c:tx>
                <c:rich>
                  <a:bodyPr/>
                  <a:lstStyle/>
                  <a:p>
                    <a:fld id="{C8B5EEDC-8604-498A-AF87-6E124E99C3E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6F3F-4891-A588-66FCA4279EF0}"/>
                </c:ext>
              </c:extLst>
            </c:dLbl>
            <c:dLbl>
              <c:idx val="13"/>
              <c:tx>
                <c:rich>
                  <a:bodyPr/>
                  <a:lstStyle/>
                  <a:p>
                    <a:fld id="{D61AD10C-1DA0-475F-A3E1-A6ECB66951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6F3F-4891-A588-66FCA4279EF0}"/>
                </c:ext>
              </c:extLst>
            </c:dLbl>
            <c:dLbl>
              <c:idx val="1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6F3F-4891-A588-66FCA4279EF0}"/>
                </c:ext>
              </c:extLst>
            </c:dLbl>
            <c:dLbl>
              <c:idx val="15"/>
              <c:tx>
                <c:rich>
                  <a:bodyPr/>
                  <a:lstStyle/>
                  <a:p>
                    <a:fld id="{5FCB9C08-EDC3-467D-AEDE-43211037D43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6F3F-4891-A588-66FCA4279EF0}"/>
                </c:ext>
              </c:extLst>
            </c:dLbl>
            <c:dLbl>
              <c:idx val="16"/>
              <c:tx>
                <c:rich>
                  <a:bodyPr/>
                  <a:lstStyle/>
                  <a:p>
                    <a:fld id="{83093257-7DBE-4AAE-B035-A97EBDE4342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6F3F-4891-A588-66FCA4279EF0}"/>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6F3F-4891-A588-66FCA4279EF0}"/>
                </c:ext>
              </c:extLst>
            </c:dLbl>
            <c:dLbl>
              <c:idx val="18"/>
              <c:tx>
                <c:rich>
                  <a:bodyPr/>
                  <a:lstStyle/>
                  <a:p>
                    <a:fld id="{205D8B3F-C83B-485D-B328-33EA6CC2791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6F3F-4891-A588-66FCA4279EF0}"/>
                </c:ext>
              </c:extLst>
            </c:dLbl>
            <c:dLbl>
              <c:idx val="19"/>
              <c:tx>
                <c:rich>
                  <a:bodyPr/>
                  <a:lstStyle/>
                  <a:p>
                    <a:fld id="{9D3E86D2-8D87-4B20-9BBE-0B32D0EB64F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6F3F-4891-A588-66FCA4279EF0}"/>
                </c:ext>
              </c:extLst>
            </c:dLbl>
            <c:dLbl>
              <c:idx val="20"/>
              <c:tx>
                <c:rich>
                  <a:bodyPr/>
                  <a:lstStyle/>
                  <a:p>
                    <a:fld id="{5A7203F5-3153-4490-9572-8CEBF1AF6DB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6F3F-4891-A588-66FCA4279EF0}"/>
                </c:ext>
              </c:extLst>
            </c:dLbl>
            <c:dLbl>
              <c:idx val="21"/>
              <c:tx>
                <c:rich>
                  <a:bodyPr/>
                  <a:lstStyle/>
                  <a:p>
                    <a:fld id="{9E036D4E-AA32-4EB8-8015-2791D28EF0C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6F3F-4891-A588-66FCA4279EF0}"/>
                </c:ext>
              </c:extLst>
            </c:dLbl>
            <c:dLbl>
              <c:idx val="22"/>
              <c:tx>
                <c:rich>
                  <a:bodyPr/>
                  <a:lstStyle/>
                  <a:p>
                    <a:fld id="{59C295E6-CE98-4175-8CF8-D083D2D0DA7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6F3F-4891-A588-66FCA4279EF0}"/>
                </c:ext>
              </c:extLst>
            </c:dLbl>
            <c:dLbl>
              <c:idx val="23"/>
              <c:tx>
                <c:rich>
                  <a:bodyPr/>
                  <a:lstStyle/>
                  <a:p>
                    <a:fld id="{A01D1426-253C-49FA-A867-39428216210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6F3F-4891-A588-66FCA4279EF0}"/>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6F3F-4891-A588-66FCA4279EF0}"/>
                </c:ext>
              </c:extLst>
            </c:dLbl>
            <c:dLbl>
              <c:idx val="2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F3F-4891-A588-66FCA4279EF0}"/>
                </c:ext>
              </c:extLst>
            </c:dLbl>
            <c:dLbl>
              <c:idx val="26"/>
              <c:tx>
                <c:rich>
                  <a:bodyPr/>
                  <a:lstStyle/>
                  <a:p>
                    <a:fld id="{EEA0C8D2-2524-4289-A829-D486A7A0B50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6F3F-4891-A588-66FCA4279EF0}"/>
                </c:ext>
              </c:extLst>
            </c:dLbl>
            <c:dLbl>
              <c:idx val="2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6F3F-4891-A588-66FCA4279EF0}"/>
                </c:ext>
              </c:extLst>
            </c:dLbl>
            <c:dLbl>
              <c:idx val="2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6F3F-4891-A588-66FCA4279EF0}"/>
                </c:ext>
              </c:extLst>
            </c:dLbl>
            <c:dLbl>
              <c:idx val="29"/>
              <c:tx>
                <c:rich>
                  <a:bodyPr/>
                  <a:lstStyle/>
                  <a:p>
                    <a:fld id="{C98D47AD-C4B1-4940-8592-2CECC48F0DD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6F3F-4891-A588-66FCA4279EF0}"/>
                </c:ext>
              </c:extLst>
            </c:dLbl>
            <c:dLbl>
              <c:idx val="30"/>
              <c:tx>
                <c:rich>
                  <a:bodyPr/>
                  <a:lstStyle/>
                  <a:p>
                    <a:fld id="{E3369B8A-D106-4AFC-B452-645B000C20D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6F3F-4891-A588-66FCA4279EF0}"/>
                </c:ext>
              </c:extLst>
            </c:dLbl>
            <c:dLbl>
              <c:idx val="3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6F3F-4891-A588-66FCA4279EF0}"/>
                </c:ext>
              </c:extLst>
            </c:dLbl>
            <c:dLbl>
              <c:idx val="3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6F3F-4891-A588-66FCA4279EF0}"/>
                </c:ext>
              </c:extLst>
            </c:dLbl>
            <c:dLbl>
              <c:idx val="33"/>
              <c:tx>
                <c:rich>
                  <a:bodyPr/>
                  <a:lstStyle/>
                  <a:p>
                    <a:fld id="{1E93429A-9424-4F8E-AE78-CB0FB978ADA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6F3F-4891-A588-66FCA4279EF0}"/>
                </c:ext>
              </c:extLst>
            </c:dLbl>
            <c:dLbl>
              <c:idx val="34"/>
              <c:tx>
                <c:rich>
                  <a:bodyPr/>
                  <a:lstStyle/>
                  <a:p>
                    <a:fld id="{635E9B43-D278-45C7-A70D-4960FC04277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6F3F-4891-A588-66FCA4279EF0}"/>
                </c:ext>
              </c:extLst>
            </c:dLbl>
            <c:dLbl>
              <c:idx val="35"/>
              <c:tx>
                <c:rich>
                  <a:bodyPr/>
                  <a:lstStyle/>
                  <a:p>
                    <a:fld id="{192E9D27-C8B5-44CD-8D65-95E54CDF7A1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6F3F-4891-A588-66FCA4279EF0}"/>
                </c:ext>
              </c:extLst>
            </c:dLbl>
            <c:dLbl>
              <c:idx val="36"/>
              <c:tx>
                <c:rich>
                  <a:bodyPr/>
                  <a:lstStyle/>
                  <a:p>
                    <a:fld id="{43151C58-EC12-474B-8A08-5C8310DEC83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6F3F-4891-A588-66FCA4279EF0}"/>
                </c:ext>
              </c:extLst>
            </c:dLbl>
            <c:dLbl>
              <c:idx val="3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F3F-4891-A588-66FCA4279EF0}"/>
                </c:ext>
              </c:extLst>
            </c:dLbl>
            <c:dLbl>
              <c:idx val="38"/>
              <c:tx>
                <c:rich>
                  <a:bodyPr/>
                  <a:lstStyle/>
                  <a:p>
                    <a:fld id="{3F047A9C-D9D9-4A65-93C7-136ED084BB6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6F3F-4891-A588-66FCA4279EF0}"/>
                </c:ext>
              </c:extLst>
            </c:dLbl>
            <c:dLbl>
              <c:idx val="3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6F3F-4891-A588-66FCA4279EF0}"/>
                </c:ext>
              </c:extLst>
            </c:dLbl>
            <c:dLbl>
              <c:idx val="40"/>
              <c:tx>
                <c:rich>
                  <a:bodyPr/>
                  <a:lstStyle/>
                  <a:p>
                    <a:fld id="{435C5ED3-64CA-4559-9FA7-A3B0AF16E82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6F3F-4891-A588-66FCA4279EF0}"/>
                </c:ext>
              </c:extLst>
            </c:dLbl>
            <c:dLbl>
              <c:idx val="41"/>
              <c:tx>
                <c:rich>
                  <a:bodyPr/>
                  <a:lstStyle/>
                  <a:p>
                    <a:fld id="{CAF0FF1E-AA76-4BB1-A5A7-122FB695D1C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6F3F-4891-A588-66FCA4279EF0}"/>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6F3F-4891-A588-66FCA4279EF0}"/>
                </c:ext>
              </c:extLst>
            </c:dLbl>
            <c:dLbl>
              <c:idx val="4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6F3F-4891-A588-66FCA4279EF0}"/>
                </c:ext>
              </c:extLst>
            </c:dLbl>
            <c:dLbl>
              <c:idx val="44"/>
              <c:tx>
                <c:rich>
                  <a:bodyPr/>
                  <a:lstStyle/>
                  <a:p>
                    <a:fld id="{E6EB6094-68D4-4746-9FED-FF5315FF99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6F3F-4891-A588-66FCA4279EF0}"/>
                </c:ext>
              </c:extLst>
            </c:dLbl>
            <c:dLbl>
              <c:idx val="45"/>
              <c:tx>
                <c:rich>
                  <a:bodyPr/>
                  <a:lstStyle/>
                  <a:p>
                    <a:fld id="{6001C39D-0ADB-4D50-ADD5-DEB381B0845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6F3F-4891-A588-66FCA4279EF0}"/>
                </c:ext>
              </c:extLst>
            </c:dLbl>
            <c:dLbl>
              <c:idx val="46"/>
              <c:tx>
                <c:rich>
                  <a:bodyPr/>
                  <a:lstStyle/>
                  <a:p>
                    <a:fld id="{FE76F2AB-F886-4A19-9173-80758D8CE74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6F3F-4891-A588-66FCA4279EF0}"/>
                </c:ext>
              </c:extLst>
            </c:dLbl>
            <c:dLbl>
              <c:idx val="47"/>
              <c:tx>
                <c:rich>
                  <a:bodyPr/>
                  <a:lstStyle/>
                  <a:p>
                    <a:fld id="{2B014969-D124-4BFD-8829-164C427CCD5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6F3F-4891-A588-66FCA4279EF0}"/>
                </c:ext>
              </c:extLst>
            </c:dLbl>
            <c:dLbl>
              <c:idx val="48"/>
              <c:tx>
                <c:rich>
                  <a:bodyPr/>
                  <a:lstStyle/>
                  <a:p>
                    <a:fld id="{AD903AE0-FB0E-447D-ABA8-DBE0B9E628B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6F3F-4891-A588-66FCA4279EF0}"/>
                </c:ext>
              </c:extLst>
            </c:dLbl>
            <c:dLbl>
              <c:idx val="4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6F3F-4891-A588-66FCA4279EF0}"/>
                </c:ext>
              </c:extLst>
            </c:dLbl>
            <c:dLbl>
              <c:idx val="5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6F3F-4891-A588-66FCA4279EF0}"/>
                </c:ext>
              </c:extLst>
            </c:dLbl>
            <c:dLbl>
              <c:idx val="51"/>
              <c:tx>
                <c:rich>
                  <a:bodyPr/>
                  <a:lstStyle/>
                  <a:p>
                    <a:fld id="{5B6B8CF5-D1F9-425C-97A9-0779B3A39F6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6F3F-4891-A588-66FCA4279EF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6F3F-4891-A588-66FCA4279EF0}"/>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6F3F-4891-A588-66FCA4279EF0}"/>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3553-47F7-9D8D-B7ECA91FF30F}"/>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3553-47F7-9D8D-B7ECA91FF30F}"/>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DF80D00E-2AE2-4CDE-84AE-6646B54D494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FCA-4943-AA4B-9818CF1C0054}"/>
                </c:ext>
              </c:extLst>
            </c:dLbl>
            <c:dLbl>
              <c:idx val="1"/>
              <c:tx>
                <c:rich>
                  <a:bodyPr/>
                  <a:lstStyle/>
                  <a:p>
                    <a:fld id="{5131E3C4-EA8F-426B-8CEA-BA9523BD0AB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AFCA-4943-AA4B-9818CF1C0054}"/>
                </c:ext>
              </c:extLst>
            </c:dLbl>
            <c:dLbl>
              <c:idx val="2"/>
              <c:tx>
                <c:rich>
                  <a:bodyPr/>
                  <a:lstStyle/>
                  <a:p>
                    <a:fld id="{A6DA9FCE-4AA3-49C0-B05C-6CBA0D2CE0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FCA-4943-AA4B-9818CF1C0054}"/>
                </c:ext>
              </c:extLst>
            </c:dLbl>
            <c:dLbl>
              <c:idx val="3"/>
              <c:tx>
                <c:rich>
                  <a:bodyPr/>
                  <a:lstStyle/>
                  <a:p>
                    <a:fld id="{71EBF1B9-5389-41AF-BB72-E0C82EEB6A5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AFCA-4943-AA4B-9818CF1C0054}"/>
                </c:ext>
              </c:extLst>
            </c:dLbl>
            <c:dLbl>
              <c:idx val="4"/>
              <c:tx>
                <c:rich>
                  <a:bodyPr/>
                  <a:lstStyle/>
                  <a:p>
                    <a:fld id="{AD34D4BC-7CA1-4E25-AB5D-B4DED1C1B97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AFCA-4943-AA4B-9818CF1C0054}"/>
                </c:ext>
              </c:extLst>
            </c:dLbl>
            <c:dLbl>
              <c:idx val="5"/>
              <c:tx>
                <c:rich>
                  <a:bodyPr/>
                  <a:lstStyle/>
                  <a:p>
                    <a:fld id="{227DC4BE-34A9-4F07-8597-A85263DBCAB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AFCA-4943-AA4B-9818CF1C0054}"/>
                </c:ext>
              </c:extLst>
            </c:dLbl>
            <c:dLbl>
              <c:idx val="6"/>
              <c:tx>
                <c:rich>
                  <a:bodyPr/>
                  <a:lstStyle/>
                  <a:p>
                    <a:fld id="{DC4E7DBA-3E18-49FE-B0E5-726BA580540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AFCA-4943-AA4B-9818CF1C0054}"/>
                </c:ext>
              </c:extLst>
            </c:dLbl>
            <c:dLbl>
              <c:idx val="7"/>
              <c:tx>
                <c:rich>
                  <a:bodyPr/>
                  <a:lstStyle/>
                  <a:p>
                    <a:fld id="{31569E4B-890B-4F02-8409-1C120A7F012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AFCA-4943-AA4B-9818CF1C0054}"/>
                </c:ext>
              </c:extLst>
            </c:dLbl>
            <c:dLbl>
              <c:idx val="8"/>
              <c:tx>
                <c:rich>
                  <a:bodyPr/>
                  <a:lstStyle/>
                  <a:p>
                    <a:fld id="{1425330E-EB61-428D-A486-9BFC796A12E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AFCA-4943-AA4B-9818CF1C0054}"/>
                </c:ext>
              </c:extLst>
            </c:dLbl>
            <c:dLbl>
              <c:idx val="9"/>
              <c:tx>
                <c:rich>
                  <a:bodyPr/>
                  <a:lstStyle/>
                  <a:p>
                    <a:fld id="{9184EB08-9C6C-4DC6-8D51-1B77104405B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AFCA-4943-AA4B-9818CF1C0054}"/>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AFCA-4943-AA4B-9818CF1C0054}"/>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AFCA-4943-AA4B-9818CF1C0054}"/>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AFCA-4943-AA4B-9818CF1C0054}"/>
                </c:ext>
              </c:extLst>
            </c:dLbl>
            <c:dLbl>
              <c:idx val="13"/>
              <c:tx>
                <c:rich>
                  <a:bodyPr/>
                  <a:lstStyle/>
                  <a:p>
                    <a:fld id="{0717640A-9340-48F7-8094-66D865C27BE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AFCA-4943-AA4B-9818CF1C0054}"/>
                </c:ext>
              </c:extLst>
            </c:dLbl>
            <c:dLbl>
              <c:idx val="14"/>
              <c:tx>
                <c:rich>
                  <a:bodyPr/>
                  <a:lstStyle/>
                  <a:p>
                    <a:fld id="{125EDC37-76B0-46AD-BCBF-E4082C6B9A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AFCA-4943-AA4B-9818CF1C0054}"/>
                </c:ext>
              </c:extLst>
            </c:dLbl>
            <c:dLbl>
              <c:idx val="15"/>
              <c:tx>
                <c:rich>
                  <a:bodyPr/>
                  <a:lstStyle/>
                  <a:p>
                    <a:fld id="{7732B7ED-428E-4BAE-A093-11B80AC59B8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AFCA-4943-AA4B-9818CF1C0054}"/>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AFCA-4943-AA4B-9818CF1C0054}"/>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AFCA-4943-AA4B-9818CF1C0054}"/>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AFCA-4943-AA4B-9818CF1C0054}"/>
                </c:ext>
              </c:extLst>
            </c:dLbl>
            <c:dLbl>
              <c:idx val="19"/>
              <c:tx>
                <c:rich>
                  <a:bodyPr/>
                  <a:lstStyle/>
                  <a:p>
                    <a:fld id="{4D91DEED-17F8-4CBD-8E40-FD4A39BD50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AFCA-4943-AA4B-9818CF1C0054}"/>
                </c:ext>
              </c:extLst>
            </c:dLbl>
            <c:dLbl>
              <c:idx val="20"/>
              <c:tx>
                <c:rich>
                  <a:bodyPr/>
                  <a:lstStyle/>
                  <a:p>
                    <a:fld id="{97668230-54CA-49A9-893E-46CE96C4B7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AFCA-4943-AA4B-9818CF1C0054}"/>
                </c:ext>
              </c:extLst>
            </c:dLbl>
            <c:dLbl>
              <c:idx val="21"/>
              <c:tx>
                <c:rich>
                  <a:bodyPr/>
                  <a:lstStyle/>
                  <a:p>
                    <a:fld id="{60EECC9F-F150-4339-9B4F-2176CFE3457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AFCA-4943-AA4B-9818CF1C0054}"/>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AFCA-4943-AA4B-9818CF1C0054}"/>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AFCA-4943-AA4B-9818CF1C0054}"/>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AFCA-4943-AA4B-9818CF1C0054}"/>
                </c:ext>
              </c:extLst>
            </c:dLbl>
            <c:dLbl>
              <c:idx val="25"/>
              <c:tx>
                <c:rich>
                  <a:bodyPr/>
                  <a:lstStyle/>
                  <a:p>
                    <a:fld id="{126DFA80-3645-42B4-9437-131310E55DD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AFCA-4943-AA4B-9818CF1C0054}"/>
                </c:ext>
              </c:extLst>
            </c:dLbl>
            <c:dLbl>
              <c:idx val="26"/>
              <c:tx>
                <c:rich>
                  <a:bodyPr/>
                  <a:lstStyle/>
                  <a:p>
                    <a:fld id="{44D89338-AC90-430C-B54E-B2E24A6BAE9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AFCA-4943-AA4B-9818CF1C0054}"/>
                </c:ext>
              </c:extLst>
            </c:dLbl>
            <c:dLbl>
              <c:idx val="27"/>
              <c:tx>
                <c:rich>
                  <a:bodyPr/>
                  <a:lstStyle/>
                  <a:p>
                    <a:fld id="{DF93DEF3-2946-46EF-ADE0-5498C4D6F5C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AFCA-4943-AA4B-9818CF1C0054}"/>
                </c:ext>
              </c:extLst>
            </c:dLbl>
            <c:dLbl>
              <c:idx val="28"/>
              <c:tx>
                <c:rich>
                  <a:bodyPr/>
                  <a:lstStyle/>
                  <a:p>
                    <a:fld id="{E0ABB6BA-FDAB-4BC6-BB7F-1FFD7AE836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AFCA-4943-AA4B-9818CF1C0054}"/>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AFCA-4943-AA4B-9818CF1C0054}"/>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AFCA-4943-AA4B-9818CF1C0054}"/>
                </c:ext>
              </c:extLst>
            </c:dLbl>
            <c:dLbl>
              <c:idx val="31"/>
              <c:tx>
                <c:rich>
                  <a:bodyPr/>
                  <a:lstStyle/>
                  <a:p>
                    <a:fld id="{209567B5-C6CA-4DF4-8C01-BA0B004EF2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AFCA-4943-AA4B-9818CF1C0054}"/>
                </c:ext>
              </c:extLst>
            </c:dLbl>
            <c:dLbl>
              <c:idx val="32"/>
              <c:tx>
                <c:rich>
                  <a:bodyPr/>
                  <a:lstStyle/>
                  <a:p>
                    <a:fld id="{0B58487D-9B74-4760-80A5-CDC5C520A82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AFCA-4943-AA4B-9818CF1C0054}"/>
                </c:ext>
              </c:extLst>
            </c:dLbl>
            <c:dLbl>
              <c:idx val="33"/>
              <c:tx>
                <c:rich>
                  <a:bodyPr/>
                  <a:lstStyle/>
                  <a:p>
                    <a:fld id="{2BAE012A-9F9B-4883-8F82-F99730EFE77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AFCA-4943-AA4B-9818CF1C0054}"/>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AFCA-4943-AA4B-9818CF1C0054}"/>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AFCA-4943-AA4B-9818CF1C0054}"/>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AFCA-4943-AA4B-9818CF1C0054}"/>
                </c:ext>
              </c:extLst>
            </c:dLbl>
            <c:dLbl>
              <c:idx val="37"/>
              <c:tx>
                <c:rich>
                  <a:bodyPr/>
                  <a:lstStyle/>
                  <a:p>
                    <a:fld id="{0E77B37F-3BF6-47BE-983D-C106016A100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AFCA-4943-AA4B-9818CF1C0054}"/>
                </c:ext>
              </c:extLst>
            </c:dLbl>
            <c:dLbl>
              <c:idx val="38"/>
              <c:tx>
                <c:rich>
                  <a:bodyPr/>
                  <a:lstStyle/>
                  <a:p>
                    <a:fld id="{84C9A871-EB1E-4E70-B70F-9A2CF9B4272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AFCA-4943-AA4B-9818CF1C0054}"/>
                </c:ext>
              </c:extLst>
            </c:dLbl>
            <c:dLbl>
              <c:idx val="39"/>
              <c:tx>
                <c:rich>
                  <a:bodyPr/>
                  <a:lstStyle/>
                  <a:p>
                    <a:fld id="{3DE2FD97-4D07-4AD1-AD1C-B610C82DAD9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AFCA-4943-AA4B-9818CF1C0054}"/>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AFCA-4943-AA4B-9818CF1C0054}"/>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AFCA-4943-AA4B-9818CF1C0054}"/>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AFCA-4943-AA4B-9818CF1C0054}"/>
                </c:ext>
              </c:extLst>
            </c:dLbl>
            <c:dLbl>
              <c:idx val="43"/>
              <c:tx>
                <c:rich>
                  <a:bodyPr/>
                  <a:lstStyle/>
                  <a:p>
                    <a:fld id="{988F9B62-8C21-415F-88D2-619DC6C84D4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AFCA-4943-AA4B-9818CF1C0054}"/>
                </c:ext>
              </c:extLst>
            </c:dLbl>
            <c:dLbl>
              <c:idx val="44"/>
              <c:tx>
                <c:rich>
                  <a:bodyPr/>
                  <a:lstStyle/>
                  <a:p>
                    <a:fld id="{61EFE56E-E4FD-453D-94F1-B9B77FCCB6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AFCA-4943-AA4B-9818CF1C0054}"/>
                </c:ext>
              </c:extLst>
            </c:dLbl>
            <c:dLbl>
              <c:idx val="45"/>
              <c:tx>
                <c:rich>
                  <a:bodyPr/>
                  <a:lstStyle/>
                  <a:p>
                    <a:fld id="{9415BBC1-6CDD-4C54-AE2C-4150B99BE40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AFCA-4943-AA4B-9818CF1C0054}"/>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AFCA-4943-AA4B-9818CF1C0054}"/>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AFCA-4943-AA4B-9818CF1C0054}"/>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AFCA-4943-AA4B-9818CF1C0054}"/>
                </c:ext>
              </c:extLst>
            </c:dLbl>
            <c:dLbl>
              <c:idx val="49"/>
              <c:tx>
                <c:rich>
                  <a:bodyPr/>
                  <a:lstStyle/>
                  <a:p>
                    <a:fld id="{FCC373BC-E4B8-40B4-B4AB-8157FF116C3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AFCA-4943-AA4B-9818CF1C0054}"/>
                </c:ext>
              </c:extLst>
            </c:dLbl>
            <c:dLbl>
              <c:idx val="50"/>
              <c:tx>
                <c:rich>
                  <a:bodyPr/>
                  <a:lstStyle/>
                  <a:p>
                    <a:fld id="{C59D5B7A-0E85-43AA-9580-485DFEE2D03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AFCA-4943-AA4B-9818CF1C0054}"/>
                </c:ext>
              </c:extLst>
            </c:dLbl>
            <c:dLbl>
              <c:idx val="51"/>
              <c:tx>
                <c:rich>
                  <a:bodyPr/>
                  <a:lstStyle/>
                  <a:p>
                    <a:fld id="{DE140148-E73D-4FDD-99D5-4ED495A0342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AFCA-4943-AA4B-9818CF1C0054}"/>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AFCA-4943-AA4B-9818CF1C0054}"/>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AFCA-4943-AA4B-9818CF1C0054}"/>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1EAA8CDE-0860-4D7D-9216-6B0C6DD9C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B2C-A45E-07CB64A14B3B}"/>
                </c:ext>
              </c:extLst>
            </c:dLbl>
            <c:dLbl>
              <c:idx val="1"/>
              <c:tx>
                <c:rich>
                  <a:bodyPr/>
                  <a:lstStyle/>
                  <a:p>
                    <a:fld id="{A43EDF67-913F-4F2E-8BE4-E3A2881E7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B2C-A45E-07CB64A14B3B}"/>
                </c:ext>
              </c:extLst>
            </c:dLbl>
            <c:dLbl>
              <c:idx val="2"/>
              <c:delete val="1"/>
              <c:extLst>
                <c:ext xmlns:c15="http://schemas.microsoft.com/office/drawing/2012/chart" uri="{CE6537A1-D6FC-4f65-9D91-7224C49458BB}"/>
                <c:ext xmlns:c16="http://schemas.microsoft.com/office/drawing/2014/chart" uri="{C3380CC4-5D6E-409C-BE32-E72D297353CC}">
                  <c16:uniqueId val="{00000002-48EF-4B2C-A45E-07CB64A14B3B}"/>
                </c:ext>
              </c:extLst>
            </c:dLbl>
            <c:dLbl>
              <c:idx val="3"/>
              <c:tx>
                <c:rich>
                  <a:bodyPr/>
                  <a:lstStyle/>
                  <a:p>
                    <a:fld id="{EA107FAC-EBC0-4890-9CBE-B3F0493D7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B2C-A45E-07CB64A14B3B}"/>
                </c:ext>
              </c:extLst>
            </c:dLbl>
            <c:dLbl>
              <c:idx val="4"/>
              <c:tx>
                <c:rich>
                  <a:bodyPr/>
                  <a:lstStyle/>
                  <a:p>
                    <a:fld id="{979916B1-E08B-4D77-A904-BD2B5EEE2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B2C-A45E-07CB64A14B3B}"/>
                </c:ext>
              </c:extLst>
            </c:dLbl>
            <c:dLbl>
              <c:idx val="5"/>
              <c:tx>
                <c:rich>
                  <a:bodyPr/>
                  <a:lstStyle/>
                  <a:p>
                    <a:fld id="{65329FA4-19CE-4F5F-A9EC-6315C72DB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B2C-A45E-07CB64A14B3B}"/>
                </c:ext>
              </c:extLst>
            </c:dLbl>
            <c:dLbl>
              <c:idx val="6"/>
              <c:tx>
                <c:rich>
                  <a:bodyPr/>
                  <a:lstStyle/>
                  <a:p>
                    <a:fld id="{0777DA15-108E-417E-B283-503EAC202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B2C-A45E-07CB64A14B3B}"/>
                </c:ext>
              </c:extLst>
            </c:dLbl>
            <c:dLbl>
              <c:idx val="7"/>
              <c:tx>
                <c:rich>
                  <a:bodyPr/>
                  <a:lstStyle/>
                  <a:p>
                    <a:fld id="{AAC79965-7CD1-4F3B-A21F-3C7D5BED48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B2C-A45E-07CB64A14B3B}"/>
                </c:ext>
              </c:extLst>
            </c:dLbl>
            <c:dLbl>
              <c:idx val="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8EF-4B2C-A45E-07CB64A14B3B}"/>
                </c:ext>
              </c:extLst>
            </c:dLbl>
            <c:dLbl>
              <c:idx val="9"/>
              <c:tx>
                <c:rich>
                  <a:bodyPr/>
                  <a:lstStyle/>
                  <a:p>
                    <a:fld id="{7CDFF339-EEF3-45AA-B972-C292AFE8F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8EF-4B2C-A45E-07CB64A14B3B}"/>
                </c:ext>
              </c:extLst>
            </c:dLbl>
            <c:dLbl>
              <c:idx val="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8EF-4B2C-A45E-07CB64A14B3B}"/>
                </c:ext>
              </c:extLst>
            </c:dLbl>
            <c:dLbl>
              <c:idx val="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8EF-4B2C-A45E-07CB64A14B3B}"/>
                </c:ext>
              </c:extLst>
            </c:dLbl>
            <c:dLbl>
              <c:idx val="12"/>
              <c:tx>
                <c:rich>
                  <a:bodyPr/>
                  <a:lstStyle/>
                  <a:p>
                    <a:fld id="{8CA99EA7-23D4-42D5-91E3-2453E9A37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8EF-4B2C-A45E-07CB64A14B3B}"/>
                </c:ext>
              </c:extLst>
            </c:dLbl>
            <c:dLbl>
              <c:idx val="13"/>
              <c:tx>
                <c:rich>
                  <a:bodyPr/>
                  <a:lstStyle/>
                  <a:p>
                    <a:fld id="{5F254BEB-D4ED-43CE-8012-01C887C07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8EF-4B2C-A45E-07CB64A14B3B}"/>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8EF-4B2C-A45E-07CB64A14B3B}"/>
                </c:ext>
              </c:extLst>
            </c:dLbl>
            <c:dLbl>
              <c:idx val="15"/>
              <c:tx>
                <c:rich>
                  <a:bodyPr/>
                  <a:lstStyle/>
                  <a:p>
                    <a:fld id="{E05A8D47-948E-4EAF-AD68-34517C6E7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8EF-4B2C-A45E-07CB64A14B3B}"/>
                </c:ext>
              </c:extLst>
            </c:dLbl>
            <c:dLbl>
              <c:idx val="16"/>
              <c:tx>
                <c:rich>
                  <a:bodyPr/>
                  <a:lstStyle/>
                  <a:p>
                    <a:fld id="{4DF96B97-2941-4BA1-A70A-24411D7A5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8EF-4B2C-A45E-07CB64A14B3B}"/>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8EF-4B2C-A45E-07CB64A14B3B}"/>
                </c:ext>
              </c:extLst>
            </c:dLbl>
            <c:dLbl>
              <c:idx val="18"/>
              <c:tx>
                <c:rich>
                  <a:bodyPr/>
                  <a:lstStyle/>
                  <a:p>
                    <a:fld id="{2344AE27-6BB8-4971-98EF-4503BC4B4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8EF-4B2C-A45E-07CB64A14B3B}"/>
                </c:ext>
              </c:extLst>
            </c:dLbl>
            <c:dLbl>
              <c:idx val="19"/>
              <c:tx>
                <c:rich>
                  <a:bodyPr/>
                  <a:lstStyle/>
                  <a:p>
                    <a:fld id="{4CFE03C3-B060-4D8E-9559-439EE88D9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8EF-4B2C-A45E-07CB64A14B3B}"/>
                </c:ext>
              </c:extLst>
            </c:dLbl>
            <c:dLbl>
              <c:idx val="20"/>
              <c:tx>
                <c:rich>
                  <a:bodyPr/>
                  <a:lstStyle/>
                  <a:p>
                    <a:fld id="{2EB1AC6E-3740-4F28-9879-77A47A22C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8EF-4B2C-A45E-07CB64A14B3B}"/>
                </c:ext>
              </c:extLst>
            </c:dLbl>
            <c:dLbl>
              <c:idx val="21"/>
              <c:tx>
                <c:rich>
                  <a:bodyPr/>
                  <a:lstStyle/>
                  <a:p>
                    <a:fld id="{324F1A37-C376-458F-B8E3-A1744EC192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8EF-4B2C-A45E-07CB64A14B3B}"/>
                </c:ext>
              </c:extLst>
            </c:dLbl>
            <c:dLbl>
              <c:idx val="22"/>
              <c:tx>
                <c:rich>
                  <a:bodyPr/>
                  <a:lstStyle/>
                  <a:p>
                    <a:fld id="{6033E379-1E78-4CD0-A00E-3D5FF4AA2E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8EF-4B2C-A45E-07CB64A14B3B}"/>
                </c:ext>
              </c:extLst>
            </c:dLbl>
            <c:dLbl>
              <c:idx val="23"/>
              <c:tx>
                <c:rich>
                  <a:bodyPr/>
                  <a:lstStyle/>
                  <a:p>
                    <a:fld id="{4518CBF7-9616-4EC2-8912-8C6739016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8EF-4B2C-A45E-07CB64A14B3B}"/>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48EF-4B2C-A45E-07CB64A14B3B}"/>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48EF-4B2C-A45E-07CB64A14B3B}"/>
                </c:ext>
              </c:extLst>
            </c:dLbl>
            <c:dLbl>
              <c:idx val="26"/>
              <c:tx>
                <c:rich>
                  <a:bodyPr/>
                  <a:lstStyle/>
                  <a:p>
                    <a:fld id="{D377E937-B99C-4666-A62F-CCF9433F02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8EF-4B2C-A45E-07CB64A14B3B}"/>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48EF-4B2C-A45E-07CB64A14B3B}"/>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48EF-4B2C-A45E-07CB64A14B3B}"/>
                </c:ext>
              </c:extLst>
            </c:dLbl>
            <c:dLbl>
              <c:idx val="29"/>
              <c:tx>
                <c:rich>
                  <a:bodyPr/>
                  <a:lstStyle/>
                  <a:p>
                    <a:fld id="{34F7F8EF-F58E-4413-94DA-64F21F86C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8EF-4B2C-A45E-07CB64A14B3B}"/>
                </c:ext>
              </c:extLst>
            </c:dLbl>
            <c:dLbl>
              <c:idx val="30"/>
              <c:tx>
                <c:rich>
                  <a:bodyPr/>
                  <a:lstStyle/>
                  <a:p>
                    <a:fld id="{A4BC58AE-7E48-40E8-8521-4E63104F5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8EF-4B2C-A45E-07CB64A14B3B}"/>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48EF-4B2C-A45E-07CB64A14B3B}"/>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48EF-4B2C-A45E-07CB64A14B3B}"/>
                </c:ext>
              </c:extLst>
            </c:dLbl>
            <c:dLbl>
              <c:idx val="33"/>
              <c:tx>
                <c:rich>
                  <a:bodyPr/>
                  <a:lstStyle/>
                  <a:p>
                    <a:fld id="{F373058B-174C-49C3-9F7B-0FC255F62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8EF-4B2C-A45E-07CB64A14B3B}"/>
                </c:ext>
              </c:extLst>
            </c:dLbl>
            <c:dLbl>
              <c:idx val="34"/>
              <c:tx>
                <c:rich>
                  <a:bodyPr/>
                  <a:lstStyle/>
                  <a:p>
                    <a:fld id="{F6017106-9EC9-425E-B7F2-B9E37E587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8EF-4B2C-A45E-07CB64A14B3B}"/>
                </c:ext>
              </c:extLst>
            </c:dLbl>
            <c:dLbl>
              <c:idx val="35"/>
              <c:tx>
                <c:rich>
                  <a:bodyPr/>
                  <a:lstStyle/>
                  <a:p>
                    <a:fld id="{BFFF46F5-FD94-432B-B048-920B743B0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8EF-4B2C-A45E-07CB64A14B3B}"/>
                </c:ext>
              </c:extLst>
            </c:dLbl>
            <c:dLbl>
              <c:idx val="36"/>
              <c:tx>
                <c:rich>
                  <a:bodyPr/>
                  <a:lstStyle/>
                  <a:p>
                    <a:fld id="{B3A7D4E7-C98D-47F1-BE84-C005E62E4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8EF-4B2C-A45E-07CB64A14B3B}"/>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48EF-4B2C-A45E-07CB64A14B3B}"/>
                </c:ext>
              </c:extLst>
            </c:dLbl>
            <c:dLbl>
              <c:idx val="38"/>
              <c:tx>
                <c:rich>
                  <a:bodyPr/>
                  <a:lstStyle/>
                  <a:p>
                    <a:fld id="{2BA89993-A1C7-48A6-8235-57EF59B16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8EF-4B2C-A45E-07CB64A14B3B}"/>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48EF-4B2C-A45E-07CB64A14B3B}"/>
                </c:ext>
              </c:extLst>
            </c:dLbl>
            <c:dLbl>
              <c:idx val="40"/>
              <c:tx>
                <c:rich>
                  <a:bodyPr/>
                  <a:lstStyle/>
                  <a:p>
                    <a:fld id="{59C62FD6-9D17-44EB-954E-ADA0CB797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8EF-4B2C-A45E-07CB64A14B3B}"/>
                </c:ext>
              </c:extLst>
            </c:dLbl>
            <c:dLbl>
              <c:idx val="41"/>
              <c:tx>
                <c:rich>
                  <a:bodyPr/>
                  <a:lstStyle/>
                  <a:p>
                    <a:fld id="{C6845B4C-674E-4483-8BF5-222D2BD82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8EF-4B2C-A45E-07CB64A14B3B}"/>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48EF-4B2C-A45E-07CB64A14B3B}"/>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48EF-4B2C-A45E-07CB64A14B3B}"/>
                </c:ext>
              </c:extLst>
            </c:dLbl>
            <c:dLbl>
              <c:idx val="44"/>
              <c:tx>
                <c:rich>
                  <a:bodyPr/>
                  <a:lstStyle/>
                  <a:p>
                    <a:fld id="{C6A7E99E-2014-4B15-B6C4-5E8D30B02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8EF-4B2C-A45E-07CB64A14B3B}"/>
                </c:ext>
              </c:extLst>
            </c:dLbl>
            <c:dLbl>
              <c:idx val="45"/>
              <c:tx>
                <c:rich>
                  <a:bodyPr/>
                  <a:lstStyle/>
                  <a:p>
                    <a:fld id="{12488FAE-7AE7-4747-B258-92EF9370C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8EF-4B2C-A45E-07CB64A14B3B}"/>
                </c:ext>
              </c:extLst>
            </c:dLbl>
            <c:dLbl>
              <c:idx val="46"/>
              <c:tx>
                <c:rich>
                  <a:bodyPr/>
                  <a:lstStyle/>
                  <a:p>
                    <a:fld id="{38711D06-C3E3-43F8-A46D-616F77B1B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48EF-4B2C-A45E-07CB64A14B3B}"/>
                </c:ext>
              </c:extLst>
            </c:dLbl>
            <c:dLbl>
              <c:idx val="47"/>
              <c:tx>
                <c:rich>
                  <a:bodyPr/>
                  <a:lstStyle/>
                  <a:p>
                    <a:fld id="{D099864E-01AD-40A8-AD4C-87B91ED78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48EF-4B2C-A45E-07CB64A14B3B}"/>
                </c:ext>
              </c:extLst>
            </c:dLbl>
            <c:dLbl>
              <c:idx val="48"/>
              <c:tx>
                <c:rich>
                  <a:bodyPr/>
                  <a:lstStyle/>
                  <a:p>
                    <a:fld id="{C516F129-A3F1-4959-8C36-696E5F1F6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48EF-4B2C-A45E-07CB64A14B3B}"/>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48EF-4B2C-A45E-07CB64A14B3B}"/>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48EF-4B2C-A45E-07CB64A14B3B}"/>
                </c:ext>
              </c:extLst>
            </c:dLbl>
            <c:dLbl>
              <c:idx val="51"/>
              <c:tx>
                <c:rich>
                  <a:bodyPr/>
                  <a:lstStyle/>
                  <a:p>
                    <a:fld id="{1EE7D7AD-8383-475B-A93B-4B3C1692E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48EF-4B2C-A45E-07CB64A14B3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48EF-4B2C-A45E-07CB64A14B3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48EF-4B2C-A45E-07CB64A14B3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1DD4-432D-86DC-6E7EECD7DC7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1DD4-432D-86DC-6E7EECD7DC7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7281-4004-839E-EC8ADA9B4F03}"/>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7281-4004-839E-EC8ADA9B4F03}"/>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44275310024208181"/>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1F997C32-2B90-45F5-BC3F-20EA736BA30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522-4FFF-9E56-9731F6C7602B}"/>
                </c:ext>
              </c:extLst>
            </c:dLbl>
            <c:dLbl>
              <c:idx val="1"/>
              <c:tx>
                <c:rich>
                  <a:bodyPr/>
                  <a:lstStyle/>
                  <a:p>
                    <a:fld id="{B84ACB84-8D43-4586-9011-72615588679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1522-4FFF-9E56-9731F6C7602B}"/>
                </c:ext>
              </c:extLst>
            </c:dLbl>
            <c:dLbl>
              <c:idx val="2"/>
              <c:tx>
                <c:rich>
                  <a:bodyPr/>
                  <a:lstStyle/>
                  <a:p>
                    <a:fld id="{E36B7852-A363-4A97-B90B-BEECAC41303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1522-4FFF-9E56-9731F6C7602B}"/>
                </c:ext>
              </c:extLst>
            </c:dLbl>
            <c:dLbl>
              <c:idx val="3"/>
              <c:tx>
                <c:rich>
                  <a:bodyPr/>
                  <a:lstStyle/>
                  <a:p>
                    <a:fld id="{C1246EE7-FB05-4659-9B25-01B135C4438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1522-4FFF-9E56-9731F6C7602B}"/>
                </c:ext>
              </c:extLst>
            </c:dLbl>
            <c:dLbl>
              <c:idx val="4"/>
              <c:tx>
                <c:rich>
                  <a:bodyPr/>
                  <a:lstStyle/>
                  <a:p>
                    <a:fld id="{358E648D-8E9B-4956-A076-44F2A7B7BF3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1522-4FFF-9E56-9731F6C7602B}"/>
                </c:ext>
              </c:extLst>
            </c:dLbl>
            <c:dLbl>
              <c:idx val="5"/>
              <c:tx>
                <c:rich>
                  <a:bodyPr/>
                  <a:lstStyle/>
                  <a:p>
                    <a:fld id="{9EEFC47F-8E14-45A8-9405-568C40CF877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1522-4FFF-9E56-9731F6C7602B}"/>
                </c:ext>
              </c:extLst>
            </c:dLbl>
            <c:dLbl>
              <c:idx val="6"/>
              <c:tx>
                <c:rich>
                  <a:bodyPr/>
                  <a:lstStyle/>
                  <a:p>
                    <a:fld id="{FFB9A23C-9464-4330-9119-421E1FB55CD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1522-4FFF-9E56-9731F6C7602B}"/>
                </c:ext>
              </c:extLst>
            </c:dLbl>
            <c:dLbl>
              <c:idx val="7"/>
              <c:tx>
                <c:rich>
                  <a:bodyPr/>
                  <a:lstStyle/>
                  <a:p>
                    <a:fld id="{315C4D06-1C24-494B-9E09-585F78B60AB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1522-4FFF-9E56-9731F6C7602B}"/>
                </c:ext>
              </c:extLst>
            </c:dLbl>
            <c:dLbl>
              <c:idx val="8"/>
              <c:tx>
                <c:rich>
                  <a:bodyPr/>
                  <a:lstStyle/>
                  <a:p>
                    <a:fld id="{27CF11B2-B552-41E1-BD6D-83CA50FFBA1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1522-4FFF-9E56-9731F6C7602B}"/>
                </c:ext>
              </c:extLst>
            </c:dLbl>
            <c:dLbl>
              <c:idx val="9"/>
              <c:tx>
                <c:rich>
                  <a:bodyPr/>
                  <a:lstStyle/>
                  <a:p>
                    <a:fld id="{1BB68B22-B0C0-4006-9056-3748007DE70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1522-4FFF-9E56-9731F6C7602B}"/>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1522-4FFF-9E56-9731F6C7602B}"/>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1522-4FFF-9E56-9731F6C7602B}"/>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1522-4FFF-9E56-9731F6C7602B}"/>
                </c:ext>
              </c:extLst>
            </c:dLbl>
            <c:dLbl>
              <c:idx val="13"/>
              <c:tx>
                <c:rich>
                  <a:bodyPr/>
                  <a:lstStyle/>
                  <a:p>
                    <a:fld id="{1E210589-64EA-4E14-8543-7ECEEEB29C1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1522-4FFF-9E56-9731F6C7602B}"/>
                </c:ext>
              </c:extLst>
            </c:dLbl>
            <c:dLbl>
              <c:idx val="14"/>
              <c:tx>
                <c:rich>
                  <a:bodyPr/>
                  <a:lstStyle/>
                  <a:p>
                    <a:fld id="{2F9C56E2-12F4-4650-B22C-BF3EB2E49A9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1522-4FFF-9E56-9731F6C7602B}"/>
                </c:ext>
              </c:extLst>
            </c:dLbl>
            <c:dLbl>
              <c:idx val="15"/>
              <c:tx>
                <c:rich>
                  <a:bodyPr/>
                  <a:lstStyle/>
                  <a:p>
                    <a:fld id="{CBAD240B-0E21-4A54-83B4-CAAE71F63A7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1522-4FFF-9E56-9731F6C7602B}"/>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1522-4FFF-9E56-9731F6C7602B}"/>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1522-4FFF-9E56-9731F6C7602B}"/>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1522-4FFF-9E56-9731F6C7602B}"/>
                </c:ext>
              </c:extLst>
            </c:dLbl>
            <c:dLbl>
              <c:idx val="19"/>
              <c:tx>
                <c:rich>
                  <a:bodyPr/>
                  <a:lstStyle/>
                  <a:p>
                    <a:fld id="{E20DF19E-09E5-4F33-9097-381B4A54AA7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1522-4FFF-9E56-9731F6C7602B}"/>
                </c:ext>
              </c:extLst>
            </c:dLbl>
            <c:dLbl>
              <c:idx val="20"/>
              <c:tx>
                <c:rich>
                  <a:bodyPr/>
                  <a:lstStyle/>
                  <a:p>
                    <a:fld id="{2CB93E37-BC38-49DD-A172-238742092F2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1522-4FFF-9E56-9731F6C7602B}"/>
                </c:ext>
              </c:extLst>
            </c:dLbl>
            <c:dLbl>
              <c:idx val="21"/>
              <c:tx>
                <c:rich>
                  <a:bodyPr/>
                  <a:lstStyle/>
                  <a:p>
                    <a:fld id="{9F39EEBA-E9DF-46A5-B156-CB3D6EBF230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1522-4FFF-9E56-9731F6C7602B}"/>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1522-4FFF-9E56-9731F6C7602B}"/>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1522-4FFF-9E56-9731F6C7602B}"/>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1522-4FFF-9E56-9731F6C7602B}"/>
                </c:ext>
              </c:extLst>
            </c:dLbl>
            <c:dLbl>
              <c:idx val="25"/>
              <c:tx>
                <c:rich>
                  <a:bodyPr/>
                  <a:lstStyle/>
                  <a:p>
                    <a:fld id="{2CF767F5-A2B9-4DD8-8AC1-CC88E69263E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1522-4FFF-9E56-9731F6C7602B}"/>
                </c:ext>
              </c:extLst>
            </c:dLbl>
            <c:dLbl>
              <c:idx val="26"/>
              <c:tx>
                <c:rich>
                  <a:bodyPr/>
                  <a:lstStyle/>
                  <a:p>
                    <a:fld id="{CA2C7463-43F4-45A8-A092-49A7D02688D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1522-4FFF-9E56-9731F6C7602B}"/>
                </c:ext>
              </c:extLst>
            </c:dLbl>
            <c:dLbl>
              <c:idx val="27"/>
              <c:tx>
                <c:rich>
                  <a:bodyPr/>
                  <a:lstStyle/>
                  <a:p>
                    <a:fld id="{EE4F7404-3338-4CE3-9084-8638192E967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1522-4FFF-9E56-9731F6C7602B}"/>
                </c:ext>
              </c:extLst>
            </c:dLbl>
            <c:dLbl>
              <c:idx val="28"/>
              <c:tx>
                <c:rich>
                  <a:bodyPr/>
                  <a:lstStyle/>
                  <a:p>
                    <a:fld id="{E8C8B36C-705D-49CF-9020-EC3982BD76F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1522-4FFF-9E56-9731F6C7602B}"/>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1522-4FFF-9E56-9731F6C7602B}"/>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1522-4FFF-9E56-9731F6C7602B}"/>
                </c:ext>
              </c:extLst>
            </c:dLbl>
            <c:dLbl>
              <c:idx val="31"/>
              <c:tx>
                <c:rich>
                  <a:bodyPr/>
                  <a:lstStyle/>
                  <a:p>
                    <a:fld id="{9856B1A0-5D4B-4483-AE0C-3E53AEC33A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1522-4FFF-9E56-9731F6C7602B}"/>
                </c:ext>
              </c:extLst>
            </c:dLbl>
            <c:dLbl>
              <c:idx val="32"/>
              <c:tx>
                <c:rich>
                  <a:bodyPr/>
                  <a:lstStyle/>
                  <a:p>
                    <a:fld id="{1DAA4643-A863-477E-A732-CD6A76DDC35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1522-4FFF-9E56-9731F6C7602B}"/>
                </c:ext>
              </c:extLst>
            </c:dLbl>
            <c:dLbl>
              <c:idx val="33"/>
              <c:tx>
                <c:rich>
                  <a:bodyPr/>
                  <a:lstStyle/>
                  <a:p>
                    <a:fld id="{D80913A4-7758-4487-BA12-D75CA6BD454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1522-4FFF-9E56-9731F6C7602B}"/>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1522-4FFF-9E56-9731F6C7602B}"/>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1522-4FFF-9E56-9731F6C7602B}"/>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1522-4FFF-9E56-9731F6C7602B}"/>
                </c:ext>
              </c:extLst>
            </c:dLbl>
            <c:dLbl>
              <c:idx val="37"/>
              <c:tx>
                <c:rich>
                  <a:bodyPr/>
                  <a:lstStyle/>
                  <a:p>
                    <a:fld id="{5D5099B3-7842-4777-B263-9B6FBB6BFB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1522-4FFF-9E56-9731F6C7602B}"/>
                </c:ext>
              </c:extLst>
            </c:dLbl>
            <c:dLbl>
              <c:idx val="38"/>
              <c:tx>
                <c:rich>
                  <a:bodyPr/>
                  <a:lstStyle/>
                  <a:p>
                    <a:fld id="{927BCB81-3F23-426F-82BF-335195A63DE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1522-4FFF-9E56-9731F6C7602B}"/>
                </c:ext>
              </c:extLst>
            </c:dLbl>
            <c:dLbl>
              <c:idx val="39"/>
              <c:tx>
                <c:rich>
                  <a:bodyPr/>
                  <a:lstStyle/>
                  <a:p>
                    <a:fld id="{3D1AFAD4-8986-47B8-B730-A23BEB9C0CA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1522-4FFF-9E56-9731F6C7602B}"/>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1522-4FFF-9E56-9731F6C7602B}"/>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1522-4FFF-9E56-9731F6C7602B}"/>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1522-4FFF-9E56-9731F6C7602B}"/>
                </c:ext>
              </c:extLst>
            </c:dLbl>
            <c:dLbl>
              <c:idx val="43"/>
              <c:tx>
                <c:rich>
                  <a:bodyPr/>
                  <a:lstStyle/>
                  <a:p>
                    <a:fld id="{06D5F968-1ECD-4DCA-AC93-2691AA9682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1522-4FFF-9E56-9731F6C7602B}"/>
                </c:ext>
              </c:extLst>
            </c:dLbl>
            <c:dLbl>
              <c:idx val="44"/>
              <c:tx>
                <c:rich>
                  <a:bodyPr/>
                  <a:lstStyle/>
                  <a:p>
                    <a:fld id="{9570DB4B-5BD3-4FFB-B097-FE1D5A138A2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1522-4FFF-9E56-9731F6C7602B}"/>
                </c:ext>
              </c:extLst>
            </c:dLbl>
            <c:dLbl>
              <c:idx val="45"/>
              <c:tx>
                <c:rich>
                  <a:bodyPr/>
                  <a:lstStyle/>
                  <a:p>
                    <a:fld id="{67C4F701-C031-46D1-9BF0-7524FED46D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1522-4FFF-9E56-9731F6C7602B}"/>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1522-4FFF-9E56-9731F6C7602B}"/>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1522-4FFF-9E56-9731F6C7602B}"/>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1522-4FFF-9E56-9731F6C7602B}"/>
                </c:ext>
              </c:extLst>
            </c:dLbl>
            <c:dLbl>
              <c:idx val="49"/>
              <c:tx>
                <c:rich>
                  <a:bodyPr/>
                  <a:lstStyle/>
                  <a:p>
                    <a:fld id="{A42934A4-4AC2-4CB7-94D0-9439F9581D8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1522-4FFF-9E56-9731F6C7602B}"/>
                </c:ext>
              </c:extLst>
            </c:dLbl>
            <c:dLbl>
              <c:idx val="50"/>
              <c:tx>
                <c:rich>
                  <a:bodyPr/>
                  <a:lstStyle/>
                  <a:p>
                    <a:fld id="{C5A7D7FA-C8BC-4DAF-B538-5C2441CCB39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1522-4FFF-9E56-9731F6C7602B}"/>
                </c:ext>
              </c:extLst>
            </c:dLbl>
            <c:dLbl>
              <c:idx val="51"/>
              <c:tx>
                <c:rich>
                  <a:bodyPr/>
                  <a:lstStyle/>
                  <a:p>
                    <a:fld id="{71DEE16B-83D6-461E-A6B3-6E802E281F5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1522-4FFF-9E56-9731F6C7602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1522-4FFF-9E56-9731F6C7602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1522-4FFF-9E56-9731F6C7602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5">
  <a:schemeClr val="accent2"/>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BE782C-E550-452E-9FE3-91B8E17AF226}" type="datetimeFigureOut">
              <a:rPr lang="en-AE" smtClean="0"/>
              <a:t>29/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A683E8-0D0A-4C02-8331-429BD4A453B1}" type="slidenum">
              <a:rPr lang="en-AE" smtClean="0"/>
              <a:t>‹#›</a:t>
            </a:fld>
            <a:endParaRPr lang="en-AE"/>
          </a:p>
        </p:txBody>
      </p:sp>
    </p:spTree>
    <p:extLst>
      <p:ext uri="{BB962C8B-B14F-4D97-AF65-F5344CB8AC3E}">
        <p14:creationId xmlns:p14="http://schemas.microsoft.com/office/powerpoint/2010/main" val="1571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B5EBF-BAA8-6138-B8F1-BFB4854B1A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9C062-CCD5-939B-4A2F-6FE08AF040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5901A2-4DC5-B138-7D02-F90798372008}"/>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5849A7B3-1A26-B7E6-4696-587785E956AD}"/>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4940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EF5B9-441A-4523-1ACE-593161F844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25B149-09B5-9BFC-B9FE-862E33482A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BF498F-52A1-49CE-F97E-7C2102F38A51}"/>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881C2A81-3512-D72C-17BC-12FC847B80B4}"/>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3712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6367651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280142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6060492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54686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215836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01936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76017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155241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4950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2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66408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9/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46204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816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9/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524438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9/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0304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9/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93229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77175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374790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2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894067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3292159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7104506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885971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7490364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2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5497040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0492933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29/2025</a:t>
            </a:fld>
            <a:endParaRPr lang="en-US"/>
          </a:p>
        </p:txBody>
      </p:sp>
    </p:spTree>
    <p:extLst>
      <p:ext uri="{BB962C8B-B14F-4D97-AF65-F5344CB8AC3E}">
        <p14:creationId xmlns:p14="http://schemas.microsoft.com/office/powerpoint/2010/main" val="1848249703"/>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1.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2.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4.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9.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oleObject" Target="../embeddings/oleObject28.bin"/><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6.xml"/><Relationship Id="rId4" Type="http://schemas.openxmlformats.org/officeDocument/2006/relationships/image" Target="../media/image3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3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31.emf"/></Relationships>
</file>

<file path=ppt/slides/_rels/slide24.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oleObject" Target="../embeddings/oleObject30.bin"/><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31.emf"/></Relationships>
</file>

<file path=ppt/slides/_rels/slide25.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oleObject" Target="../embeddings/oleObject30.bin"/><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37.xml"/><Relationship Id="rId5" Type="http://schemas.openxmlformats.org/officeDocument/2006/relationships/chart" Target="../charts/chart36.xml"/><Relationship Id="rId4" Type="http://schemas.openxmlformats.org/officeDocument/2006/relationships/image" Target="../media/image31.emf"/><Relationship Id="rId9" Type="http://schemas.openxmlformats.org/officeDocument/2006/relationships/chart" Target="../charts/chart40.xml"/></Relationships>
</file>

<file path=ppt/slides/_rels/slide26.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chart" Target="../charts/chart41.xml"/><Relationship Id="rId7" Type="http://schemas.openxmlformats.org/officeDocument/2006/relationships/chart" Target="../charts/chart43.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42.xml"/><Relationship Id="rId5" Type="http://schemas.openxmlformats.org/officeDocument/2006/relationships/image" Target="../media/image31.emf"/><Relationship Id="rId10" Type="http://schemas.openxmlformats.org/officeDocument/2006/relationships/chart" Target="../charts/chart46.xml"/><Relationship Id="rId4" Type="http://schemas.openxmlformats.org/officeDocument/2006/relationships/oleObject" Target="../embeddings/oleObject30.bin"/><Relationship Id="rId9" Type="http://schemas.openxmlformats.org/officeDocument/2006/relationships/chart" Target="../charts/chart4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47.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49.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4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9.xml.rels><?xml version="1.0" encoding="UTF-8" standalone="yes"?>
<Relationships xmlns="http://schemas.openxmlformats.org/package/2006/relationships"><Relationship Id="rId8" Type="http://schemas.openxmlformats.org/officeDocument/2006/relationships/chart" Target="../charts/chart52.xml"/><Relationship Id="rId3" Type="http://schemas.openxmlformats.org/officeDocument/2006/relationships/notesSlide" Target="../notesSlides/notesSlide10.xml"/><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50.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55.xml"/><Relationship Id="rId3" Type="http://schemas.openxmlformats.org/officeDocument/2006/relationships/notesSlide" Target="../notesSlides/notesSlide11.xml"/><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53.xml"/><Relationship Id="rId5" Type="http://schemas.openxmlformats.org/officeDocument/2006/relationships/image" Target="../media/image32.emf"/><Relationship Id="rId4" Type="http://schemas.openxmlformats.org/officeDocument/2006/relationships/oleObject" Target="../embeddings/oleObject31.bin"/><Relationship Id="rId9" Type="http://schemas.openxmlformats.org/officeDocument/2006/relationships/chart" Target="../charts/chart56.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5.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6.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7/29/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934784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7/29/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398382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7/29/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2273216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720359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0870992-F0EF-B48B-C512-CAB0263607E5}"/>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0870992-F0EF-B48B-C512-CAB0263607E5}"/>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30F8263A-2178-A954-F534-006365993B28}"/>
              </a:ext>
            </a:extLst>
          </p:cNvPr>
          <p:cNvSpPr>
            <a:spLocks noGrp="1"/>
          </p:cNvSpPr>
          <p:nvPr>
            <p:ph type="dt" sz="half" idx="14"/>
          </p:nvPr>
        </p:nvSpPr>
        <p:spPr>
          <a:xfrm>
            <a:off x="8082390" y="4972050"/>
            <a:ext cx="557609" cy="171450"/>
          </a:xfrm>
        </p:spPr>
        <p:txBody>
          <a:bodyPr/>
          <a:lstStyle/>
          <a:p>
            <a:pPr lvl="0"/>
            <a:fld id="{ECE2348F-4A5E-4377-BC6E-44DA80E64CED}" type="datetime1">
              <a:rPr lang="en-US" noProof="0" smtClean="0"/>
              <a:pPr lvl="0"/>
              <a:t>7/29/2025</a:t>
            </a:fld>
            <a:endParaRPr lang="en-US" noProof="0"/>
          </a:p>
        </p:txBody>
      </p:sp>
      <p:sp>
        <p:nvSpPr>
          <p:cNvPr id="9" name="Footer Placeholder 8">
            <a:extLst>
              <a:ext uri="{FF2B5EF4-FFF2-40B4-BE49-F238E27FC236}">
                <a16:creationId xmlns:a16="http://schemas.microsoft.com/office/drawing/2014/main" id="{4DCD2A08-01E5-6C57-C2F4-7845774327A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E87B52AC-8018-1DEA-CAEA-DD623D44C3F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pPr lvl="0"/>
            <a:r>
              <a:rPr lang="da-DK" noProof="0" dirty="0"/>
              <a:t>Data Source | Nielsen | Ending Mar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dirty="0"/>
              <a:t>Feature</a:t>
            </a:r>
            <a:r>
              <a:rPr lang="en-AE" dirty="0"/>
              <a:t> </a:t>
            </a:r>
            <a:r>
              <a:rPr lang="en-US" dirty="0"/>
              <a:t>Share vs. Fair Share </a:t>
            </a:r>
            <a:r>
              <a:rPr lang="en-US"/>
              <a:t>| Retailer </a:t>
            </a:r>
            <a:r>
              <a:rPr lang="en-AE" dirty="0"/>
              <a:t>| </a:t>
            </a:r>
            <a:r>
              <a:rPr lang="en-US" dirty="0"/>
              <a:t>P12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Feature Share vs. Fair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6"/>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49"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600" b="0" i="0" u="none" strike="noStrike" kern="1200" cap="none" spc="0" normalizeH="0" baseline="0" noProof="0">
              <a:ln>
                <a:noFill/>
              </a:ln>
              <a:solidFill>
                <a:srgbClr val="00A097"/>
              </a:solidFill>
              <a:effectLst/>
              <a:uLnTx/>
              <a:uFillTx/>
              <a:latin typeface="Raleway" panose="020B0503030101060003"/>
              <a:ea typeface="+mn-ea"/>
              <a:cs typeface="+mn-cs"/>
            </a:endParaRPr>
          </a:p>
        </p:txBody>
      </p:sp>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236849936"/>
              </p:ext>
            </p:extLst>
          </p:nvPr>
        </p:nvGraphicFramePr>
        <p:xfrm>
          <a:off x="537483" y="1137274"/>
          <a:ext cx="8096662" cy="359506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405213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1BD8230-08F6-6B04-600B-F5771ED4BCB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41BD8230-08F6-6B04-600B-F5771ED4BCB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30F8263A-2178-A954-F534-006365993B28}"/>
              </a:ext>
            </a:extLst>
          </p:cNvPr>
          <p:cNvSpPr>
            <a:spLocks noGrp="1"/>
          </p:cNvSpPr>
          <p:nvPr>
            <p:ph type="dt" sz="half" idx="14"/>
          </p:nvPr>
        </p:nvSpPr>
        <p:spPr>
          <a:xfrm>
            <a:off x="8082390" y="4972050"/>
            <a:ext cx="557609" cy="171450"/>
          </a:xfrm>
        </p:spPr>
        <p:txBody>
          <a:bodyPr/>
          <a:lstStyle/>
          <a:p>
            <a:pPr lvl="0"/>
            <a:fld id="{4AF59A4A-DBA3-4B15-9761-DDCAB7C5C67C}" type="datetime1">
              <a:rPr lang="en-US" noProof="0" smtClean="0"/>
              <a:pPr lvl="0"/>
              <a:t>7/29/2025</a:t>
            </a:fld>
            <a:endParaRPr lang="en-US" noProof="0"/>
          </a:p>
        </p:txBody>
      </p:sp>
      <p:sp>
        <p:nvSpPr>
          <p:cNvPr id="9" name="Footer Placeholder 8">
            <a:extLst>
              <a:ext uri="{FF2B5EF4-FFF2-40B4-BE49-F238E27FC236}">
                <a16:creationId xmlns:a16="http://schemas.microsoft.com/office/drawing/2014/main" id="{577D2D85-84DF-541E-528E-A6A57B5D4C3C}"/>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C09D557A-3BE9-D9F6-C3E6-D81AC7A58AB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pPr lvl="0"/>
            <a:r>
              <a:rPr lang="da-DK" noProof="0"/>
              <a:t>Data Source | Nielsen | Ending Mar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Display</a:t>
            </a:r>
            <a:r>
              <a:rPr lang="en-AE"/>
              <a:t> </a:t>
            </a:r>
            <a:r>
              <a:rPr lang="en-US"/>
              <a:t>Share vs. Fair Share | Retailer </a:t>
            </a:r>
            <a:r>
              <a:rPr lang="en-AE"/>
              <a:t>| </a:t>
            </a:r>
            <a:r>
              <a:rPr lang="en-US"/>
              <a:t>P12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Display Share vs. Fair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6"/>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49"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600" b="0" i="0" u="none" strike="noStrike" kern="1200" cap="none" spc="0" normalizeH="0" baseline="0" noProof="0">
              <a:ln>
                <a:noFill/>
              </a:ln>
              <a:solidFill>
                <a:srgbClr val="00A097"/>
              </a:solidFill>
              <a:effectLst/>
              <a:uLnTx/>
              <a:uFillTx/>
              <a:latin typeface="Raleway" panose="020B0503030101060003"/>
              <a:ea typeface="+mn-ea"/>
              <a:cs typeface="+mn-cs"/>
            </a:endParaRPr>
          </a:p>
        </p:txBody>
      </p:sp>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222046809"/>
              </p:ext>
            </p:extLst>
          </p:nvPr>
        </p:nvGraphicFramePr>
        <p:xfrm>
          <a:off x="540726" y="1137272"/>
          <a:ext cx="8096662" cy="359683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007209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7/29/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768377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7/29/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743716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7/29/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645793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7/29/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704672054"/>
              </p:ext>
            </p:extLst>
          </p:nvPr>
        </p:nvGraphicFramePr>
        <p:xfrm>
          <a:off x="547224" y="1134892"/>
          <a:ext cx="216000" cy="311285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037618">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1037618">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037618">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2" name="Content Placeholder 19">
            <a:extLst>
              <a:ext uri="{FF2B5EF4-FFF2-40B4-BE49-F238E27FC236}">
                <a16:creationId xmlns:a16="http://schemas.microsoft.com/office/drawing/2014/main" id="{F389A7D3-2361-FB29-69DF-956A4DF1D33C}"/>
              </a:ext>
            </a:extLst>
          </p:cNvPr>
          <p:cNvGraphicFramePr>
            <a:graphicFrameLocks/>
          </p:cNvGraphicFramePr>
          <p:nvPr/>
        </p:nvGraphicFramePr>
        <p:xfrm>
          <a:off x="797668" y="1134892"/>
          <a:ext cx="7843095" cy="102988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9">
            <a:extLst>
              <a:ext uri="{FF2B5EF4-FFF2-40B4-BE49-F238E27FC236}">
                <a16:creationId xmlns:a16="http://schemas.microsoft.com/office/drawing/2014/main" id="{AA3374B6-17D3-01C0-46E5-6DB0C44FFE24}"/>
              </a:ext>
            </a:extLst>
          </p:cNvPr>
          <p:cNvGraphicFramePr>
            <a:graphicFrameLocks/>
          </p:cNvGraphicFramePr>
          <p:nvPr/>
        </p:nvGraphicFramePr>
        <p:xfrm>
          <a:off x="797668" y="2290154"/>
          <a:ext cx="7843095" cy="92960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ontent Placeholder 19">
            <a:extLst>
              <a:ext uri="{FF2B5EF4-FFF2-40B4-BE49-F238E27FC236}">
                <a16:creationId xmlns:a16="http://schemas.microsoft.com/office/drawing/2014/main" id="{04E8AD50-7F97-85DC-705B-B1CD8452C3D2}"/>
              </a:ext>
            </a:extLst>
          </p:cNvPr>
          <p:cNvGraphicFramePr>
            <a:graphicFrameLocks/>
          </p:cNvGraphicFramePr>
          <p:nvPr>
            <p:extLst>
              <p:ext uri="{D42A27DB-BD31-4B8C-83A1-F6EECF244321}">
                <p14:modId xmlns:p14="http://schemas.microsoft.com/office/powerpoint/2010/main" val="3682642633"/>
              </p:ext>
            </p:extLst>
          </p:nvPr>
        </p:nvGraphicFramePr>
        <p:xfrm>
          <a:off x="797668" y="3324729"/>
          <a:ext cx="7843095" cy="140695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819508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7/29/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r>
                        <a:rPr lang="en-US" sz="800">
                          <a:latin typeface="Nexa Bold" panose="00000800000000000000" pitchFamily="2" charset="0"/>
                        </a:rPr>
                        <a:t>Coop Alleanz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r>
                        <a:rPr lang="en-US" sz="800">
                          <a:latin typeface="Nexa Bold" panose="00000800000000000000" pitchFamily="2" charset="0"/>
                        </a:rPr>
                        <a:t>Esselung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373457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7/29/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7357368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7/29/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076073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7/29/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357649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7/29/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479345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0AF88-84F4-2869-DECA-6EE31CA33F0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4C8AD0F-9180-3EAB-01FE-653B32642F4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632914CD-B2C7-F3EB-98CC-C16BD3795F4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7/29/2025</a:t>
            </a:fld>
            <a:endParaRPr lang="en-US" noProof="0"/>
          </a:p>
        </p:txBody>
      </p:sp>
      <p:sp>
        <p:nvSpPr>
          <p:cNvPr id="4" name="Footer" hidden="1">
            <a:extLst>
              <a:ext uri="{FF2B5EF4-FFF2-40B4-BE49-F238E27FC236}">
                <a16:creationId xmlns:a16="http://schemas.microsoft.com/office/drawing/2014/main" id="{E2E8F52B-FAE2-3582-90CF-32EC79D3A27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C4E2ED9-2DD2-0F1D-6A5E-8DFBE65B9B5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15" name="Data Source">
            <a:extLst>
              <a:ext uri="{FF2B5EF4-FFF2-40B4-BE49-F238E27FC236}">
                <a16:creationId xmlns:a16="http://schemas.microsoft.com/office/drawing/2014/main" id="{2892DBE4-D9CE-54D1-8585-D34CF596078B}"/>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1DE27DA8-5DB0-BC4B-9F42-DEC01F942BDA}"/>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60F5EE99-9B67-4A7C-5AC0-9C69771267AC}"/>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44E7D6A7-2517-1924-D21E-A75D83E57D55}"/>
              </a:ext>
            </a:extLst>
          </p:cNvPr>
          <p:cNvGraphicFramePr>
            <a:graphicFrameLocks noGrp="1"/>
          </p:cNvGraphicFramePr>
          <p:nvPr>
            <p:extLst>
              <p:ext uri="{D42A27DB-BD31-4B8C-83A1-F6EECF244321}">
                <p14:modId xmlns:p14="http://schemas.microsoft.com/office/powerpoint/2010/main" val="44401082"/>
              </p:ext>
            </p:extLst>
          </p:nvPr>
        </p:nvGraphicFramePr>
        <p:xfrm>
          <a:off x="543331" y="1131888"/>
          <a:ext cx="303523" cy="3237612"/>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079204">
                <a:tc>
                  <a:txBody>
                    <a:bodyPr/>
                    <a:lstStyle/>
                    <a:p>
                      <a:pPr algn="ctr" fontAlgn="b"/>
                      <a:r>
                        <a:rPr lang="en-US" sz="800" b="0" kern="1200" dirty="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1079204">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079204">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8" name="C2">
            <a:extLst>
              <a:ext uri="{FF2B5EF4-FFF2-40B4-BE49-F238E27FC236}">
                <a16:creationId xmlns:a16="http://schemas.microsoft.com/office/drawing/2014/main" id="{71E6DCF7-1A98-55BE-A118-CCB61BFA1677}"/>
              </a:ext>
            </a:extLst>
          </p:cNvPr>
          <p:cNvGraphicFramePr>
            <a:graphicFrameLocks/>
          </p:cNvGraphicFramePr>
          <p:nvPr>
            <p:extLst>
              <p:ext uri="{D42A27DB-BD31-4B8C-83A1-F6EECF244321}">
                <p14:modId xmlns:p14="http://schemas.microsoft.com/office/powerpoint/2010/main" val="3203492051"/>
              </p:ext>
            </p:extLst>
          </p:nvPr>
        </p:nvGraphicFramePr>
        <p:xfrm>
          <a:off x="907981" y="1190100"/>
          <a:ext cx="7740000" cy="98019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6" name="C2">
            <a:extLst>
              <a:ext uri="{FF2B5EF4-FFF2-40B4-BE49-F238E27FC236}">
                <a16:creationId xmlns:a16="http://schemas.microsoft.com/office/drawing/2014/main" id="{911CF36C-1A7B-4AFC-C29D-445ACA239949}"/>
              </a:ext>
            </a:extLst>
          </p:cNvPr>
          <p:cNvGraphicFramePr>
            <a:graphicFrameLocks/>
          </p:cNvGraphicFramePr>
          <p:nvPr>
            <p:extLst>
              <p:ext uri="{D42A27DB-BD31-4B8C-83A1-F6EECF244321}">
                <p14:modId xmlns:p14="http://schemas.microsoft.com/office/powerpoint/2010/main" val="4171023131"/>
              </p:ext>
            </p:extLst>
          </p:nvPr>
        </p:nvGraphicFramePr>
        <p:xfrm>
          <a:off x="907981" y="2226391"/>
          <a:ext cx="7740000" cy="8839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2">
            <a:extLst>
              <a:ext uri="{FF2B5EF4-FFF2-40B4-BE49-F238E27FC236}">
                <a16:creationId xmlns:a16="http://schemas.microsoft.com/office/drawing/2014/main" id="{8045044B-F89E-09A8-5E36-8D8608CD8A9F}"/>
              </a:ext>
            </a:extLst>
          </p:cNvPr>
          <p:cNvGraphicFramePr>
            <a:graphicFrameLocks/>
          </p:cNvGraphicFramePr>
          <p:nvPr>
            <p:extLst>
              <p:ext uri="{D42A27DB-BD31-4B8C-83A1-F6EECF244321}">
                <p14:modId xmlns:p14="http://schemas.microsoft.com/office/powerpoint/2010/main" val="1582608468"/>
              </p:ext>
            </p:extLst>
          </p:nvPr>
        </p:nvGraphicFramePr>
        <p:xfrm>
          <a:off x="907981" y="3277698"/>
          <a:ext cx="7740000" cy="145505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914466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D5202D-A6C3-32ED-9277-F1702C91ADE4}"/>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9A04BAD-47BC-2298-1C16-B4C36E5DCA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7EF4ADA-B7D7-369C-A15C-4B55E08410F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7/29/2025</a:t>
            </a:fld>
            <a:endParaRPr lang="en-US" noProof="0"/>
          </a:p>
        </p:txBody>
      </p:sp>
      <p:sp>
        <p:nvSpPr>
          <p:cNvPr id="4" name="Footer" hidden="1">
            <a:extLst>
              <a:ext uri="{FF2B5EF4-FFF2-40B4-BE49-F238E27FC236}">
                <a16:creationId xmlns:a16="http://schemas.microsoft.com/office/drawing/2014/main" id="{678C2E9D-5AF4-53D6-B317-3A070178575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8E811E2-3B37-F4EB-21D5-6CED2A47B20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15" name="Data Source">
            <a:extLst>
              <a:ext uri="{FF2B5EF4-FFF2-40B4-BE49-F238E27FC236}">
                <a16:creationId xmlns:a16="http://schemas.microsoft.com/office/drawing/2014/main" id="{89910504-1DAA-5B13-AAC8-EE6F2AE94A85}"/>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8DE4D359-B6FF-DFAA-C099-A1C1B7AAA676}"/>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6C45166-D38E-1C96-444C-127C8300032B}"/>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81483C84-291D-696C-5801-C6D78552189A}"/>
              </a:ext>
            </a:extLst>
          </p:cNvPr>
          <p:cNvGraphicFramePr>
            <a:graphicFrameLocks noGrp="1"/>
          </p:cNvGraphicFramePr>
          <p:nvPr>
            <p:extLst>
              <p:ext uri="{D42A27DB-BD31-4B8C-83A1-F6EECF244321}">
                <p14:modId xmlns:p14="http://schemas.microsoft.com/office/powerpoint/2010/main" val="306748637"/>
              </p:ext>
            </p:extLst>
          </p:nvPr>
        </p:nvGraphicFramePr>
        <p:xfrm>
          <a:off x="543331" y="1131888"/>
          <a:ext cx="303523" cy="3449528"/>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862382">
                <a:tc>
                  <a:txBody>
                    <a:bodyPr/>
                    <a:lstStyle/>
                    <a:p>
                      <a:pPr algn="ctr" fontAlgn="b"/>
                      <a:r>
                        <a:rPr lang="en-US" sz="800" b="0" kern="1200" dirty="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862382">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862382">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862382">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C57BF963-75C8-3509-DF34-736E47CD2177}"/>
              </a:ext>
            </a:extLst>
          </p:cNvPr>
          <p:cNvGraphicFramePr>
            <a:graphicFrameLocks/>
          </p:cNvGraphicFramePr>
          <p:nvPr>
            <p:extLst>
              <p:ext uri="{D42A27DB-BD31-4B8C-83A1-F6EECF244321}">
                <p14:modId xmlns:p14="http://schemas.microsoft.com/office/powerpoint/2010/main" val="1633204920"/>
              </p:ext>
            </p:extLst>
          </p:nvPr>
        </p:nvGraphicFramePr>
        <p:xfrm>
          <a:off x="905321" y="1131888"/>
          <a:ext cx="7740000" cy="82973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2">
            <a:extLst>
              <a:ext uri="{FF2B5EF4-FFF2-40B4-BE49-F238E27FC236}">
                <a16:creationId xmlns:a16="http://schemas.microsoft.com/office/drawing/2014/main" id="{EF638191-9AD3-F53C-53D9-07617BF27424}"/>
              </a:ext>
            </a:extLst>
          </p:cNvPr>
          <p:cNvGraphicFramePr>
            <a:graphicFrameLocks/>
          </p:cNvGraphicFramePr>
          <p:nvPr>
            <p:extLst>
              <p:ext uri="{D42A27DB-BD31-4B8C-83A1-F6EECF244321}">
                <p14:modId xmlns:p14="http://schemas.microsoft.com/office/powerpoint/2010/main" val="974424976"/>
              </p:ext>
            </p:extLst>
          </p:nvPr>
        </p:nvGraphicFramePr>
        <p:xfrm>
          <a:off x="899999" y="1966133"/>
          <a:ext cx="7740000" cy="88150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2">
            <a:extLst>
              <a:ext uri="{FF2B5EF4-FFF2-40B4-BE49-F238E27FC236}">
                <a16:creationId xmlns:a16="http://schemas.microsoft.com/office/drawing/2014/main" id="{12FB3567-7AEE-DDCE-0F01-65DD58CA4903}"/>
              </a:ext>
            </a:extLst>
          </p:cNvPr>
          <p:cNvGraphicFramePr>
            <a:graphicFrameLocks/>
          </p:cNvGraphicFramePr>
          <p:nvPr>
            <p:extLst>
              <p:ext uri="{D42A27DB-BD31-4B8C-83A1-F6EECF244321}">
                <p14:modId xmlns:p14="http://schemas.microsoft.com/office/powerpoint/2010/main" val="3691157756"/>
              </p:ext>
            </p:extLst>
          </p:nvPr>
        </p:nvGraphicFramePr>
        <p:xfrm>
          <a:off x="907981" y="2852145"/>
          <a:ext cx="7740000" cy="8384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C2">
            <a:extLst>
              <a:ext uri="{FF2B5EF4-FFF2-40B4-BE49-F238E27FC236}">
                <a16:creationId xmlns:a16="http://schemas.microsoft.com/office/drawing/2014/main" id="{64B9AD7D-6434-9BA5-BAEF-8937575651AC}"/>
              </a:ext>
            </a:extLst>
          </p:cNvPr>
          <p:cNvGraphicFramePr>
            <a:graphicFrameLocks/>
          </p:cNvGraphicFramePr>
          <p:nvPr>
            <p:extLst>
              <p:ext uri="{D42A27DB-BD31-4B8C-83A1-F6EECF244321}">
                <p14:modId xmlns:p14="http://schemas.microsoft.com/office/powerpoint/2010/main" val="1504638670"/>
              </p:ext>
            </p:extLst>
          </p:nvPr>
        </p:nvGraphicFramePr>
        <p:xfrm>
          <a:off x="902660" y="3695102"/>
          <a:ext cx="7740000" cy="103765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446630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0655E-8CB4-1D8A-2F67-11036FB1C53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31CD73C-E590-EB05-5ED8-56326A9D19A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5CF5C216-E226-2145-E009-09D6B510463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7/29/2025</a:t>
            </a:fld>
            <a:endParaRPr lang="en-US" noProof="0"/>
          </a:p>
        </p:txBody>
      </p:sp>
      <p:sp>
        <p:nvSpPr>
          <p:cNvPr id="4" name="Footer" hidden="1">
            <a:extLst>
              <a:ext uri="{FF2B5EF4-FFF2-40B4-BE49-F238E27FC236}">
                <a16:creationId xmlns:a16="http://schemas.microsoft.com/office/drawing/2014/main" id="{1A9E1F83-6D9E-3659-4EE6-D57E161E532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8D7ED125-994F-1785-565C-E7812D951FD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15" name="Data Source">
            <a:extLst>
              <a:ext uri="{FF2B5EF4-FFF2-40B4-BE49-F238E27FC236}">
                <a16:creationId xmlns:a16="http://schemas.microsoft.com/office/drawing/2014/main" id="{F02DADCC-9D3D-E6AF-CDD0-F77F2E475948}"/>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0E6457AB-1F75-EDF5-28B3-59703DC43C13}"/>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3B2A807A-B447-E219-9089-DFE5CD3E5824}"/>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2771134-BE5D-B1B3-276E-D11D4EFD762C}"/>
              </a:ext>
            </a:extLst>
          </p:cNvPr>
          <p:cNvGraphicFramePr>
            <a:graphicFrameLocks noGrp="1"/>
          </p:cNvGraphicFramePr>
          <p:nvPr>
            <p:extLst>
              <p:ext uri="{D42A27DB-BD31-4B8C-83A1-F6EECF244321}">
                <p14:modId xmlns:p14="http://schemas.microsoft.com/office/powerpoint/2010/main" val="1862000568"/>
              </p:ext>
            </p:extLst>
          </p:nvPr>
        </p:nvGraphicFramePr>
        <p:xfrm>
          <a:off x="543331" y="1131888"/>
          <a:ext cx="303523" cy="3449525"/>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689905">
                <a:tc>
                  <a:txBody>
                    <a:bodyPr/>
                    <a:lstStyle/>
                    <a:p>
                      <a:pPr algn="ctr" fontAlgn="b"/>
                      <a:r>
                        <a:rPr lang="en-US" sz="800" b="0" kern="1200" dirty="0">
                          <a:solidFill>
                            <a:srgbClr val="575555"/>
                          </a:solidFill>
                          <a:latin typeface="Nexa Bold"/>
                          <a:ea typeface="+mn-ea"/>
                          <a:cs typeface="+mn-cs"/>
                        </a:rPr>
                        <a:t>NRGB</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689905">
                <a:tc>
                  <a:txBody>
                    <a:bodyPr/>
                    <a:lstStyle/>
                    <a:p>
                      <a:pPr algn="ctr" fontAlgn="b"/>
                      <a:r>
                        <a:rPr lang="en-US" sz="800" b="0" kern="1200" dirty="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689905">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689905">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689905">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B9DFD641-2D89-817B-F509-F81D8C8D4FDC}"/>
              </a:ext>
            </a:extLst>
          </p:cNvPr>
          <p:cNvGraphicFramePr>
            <a:graphicFrameLocks/>
          </p:cNvGraphicFramePr>
          <p:nvPr>
            <p:extLst>
              <p:ext uri="{D42A27DB-BD31-4B8C-83A1-F6EECF244321}">
                <p14:modId xmlns:p14="http://schemas.microsoft.com/office/powerpoint/2010/main" val="2741958359"/>
              </p:ext>
            </p:extLst>
          </p:nvPr>
        </p:nvGraphicFramePr>
        <p:xfrm>
          <a:off x="907980" y="1158059"/>
          <a:ext cx="7740000" cy="58579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C2">
            <a:extLst>
              <a:ext uri="{FF2B5EF4-FFF2-40B4-BE49-F238E27FC236}">
                <a16:creationId xmlns:a16="http://schemas.microsoft.com/office/drawing/2014/main" id="{F28A4806-C4BC-CDEF-FEF0-6680E060DD1E}"/>
              </a:ext>
            </a:extLst>
          </p:cNvPr>
          <p:cNvGraphicFramePr>
            <a:graphicFrameLocks/>
          </p:cNvGraphicFramePr>
          <p:nvPr>
            <p:extLst>
              <p:ext uri="{D42A27DB-BD31-4B8C-83A1-F6EECF244321}">
                <p14:modId xmlns:p14="http://schemas.microsoft.com/office/powerpoint/2010/main" val="3213097543"/>
              </p:ext>
            </p:extLst>
          </p:nvPr>
        </p:nvGraphicFramePr>
        <p:xfrm>
          <a:off x="907980" y="2584624"/>
          <a:ext cx="7740000" cy="5566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C2">
            <a:extLst>
              <a:ext uri="{FF2B5EF4-FFF2-40B4-BE49-F238E27FC236}">
                <a16:creationId xmlns:a16="http://schemas.microsoft.com/office/drawing/2014/main" id="{62D25DF2-0ECE-3D25-96A0-9A016CFBBAE8}"/>
              </a:ext>
            </a:extLst>
          </p:cNvPr>
          <p:cNvGraphicFramePr>
            <a:graphicFrameLocks/>
          </p:cNvGraphicFramePr>
          <p:nvPr>
            <p:extLst>
              <p:ext uri="{D42A27DB-BD31-4B8C-83A1-F6EECF244321}">
                <p14:modId xmlns:p14="http://schemas.microsoft.com/office/powerpoint/2010/main" val="4195248072"/>
              </p:ext>
            </p:extLst>
          </p:nvPr>
        </p:nvGraphicFramePr>
        <p:xfrm>
          <a:off x="886947" y="1886858"/>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C2">
            <a:extLst>
              <a:ext uri="{FF2B5EF4-FFF2-40B4-BE49-F238E27FC236}">
                <a16:creationId xmlns:a16="http://schemas.microsoft.com/office/drawing/2014/main" id="{6A8C2FF1-FD36-C88F-E856-58E4D7A8DBB2}"/>
              </a:ext>
            </a:extLst>
          </p:cNvPr>
          <p:cNvGraphicFramePr>
            <a:graphicFrameLocks/>
          </p:cNvGraphicFramePr>
          <p:nvPr>
            <p:extLst>
              <p:ext uri="{D42A27DB-BD31-4B8C-83A1-F6EECF244321}">
                <p14:modId xmlns:p14="http://schemas.microsoft.com/office/powerpoint/2010/main" val="2982863668"/>
              </p:ext>
            </p:extLst>
          </p:nvPr>
        </p:nvGraphicFramePr>
        <p:xfrm>
          <a:off x="907980" y="3290250"/>
          <a:ext cx="7740000" cy="59709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2">
            <a:extLst>
              <a:ext uri="{FF2B5EF4-FFF2-40B4-BE49-F238E27FC236}">
                <a16:creationId xmlns:a16="http://schemas.microsoft.com/office/drawing/2014/main" id="{511B7199-E6F3-F60A-0FF1-398C39B9385A}"/>
              </a:ext>
            </a:extLst>
          </p:cNvPr>
          <p:cNvGraphicFramePr>
            <a:graphicFrameLocks/>
          </p:cNvGraphicFramePr>
          <p:nvPr>
            <p:extLst>
              <p:ext uri="{D42A27DB-BD31-4B8C-83A1-F6EECF244321}">
                <p14:modId xmlns:p14="http://schemas.microsoft.com/office/powerpoint/2010/main" val="2319801538"/>
              </p:ext>
            </p:extLst>
          </p:nvPr>
        </p:nvGraphicFramePr>
        <p:xfrm>
          <a:off x="907980" y="3935405"/>
          <a:ext cx="7740000" cy="750642"/>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449181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B83FA-25E7-DE07-8B53-04BAFD151C58}"/>
            </a:ext>
          </a:extLst>
        </p:cNvPr>
        <p:cNvGrpSpPr/>
        <p:nvPr/>
      </p:nvGrpSpPr>
      <p:grpSpPr>
        <a:xfrm>
          <a:off x="0" y="0"/>
          <a:ext cx="0" cy="0"/>
          <a:chOff x="0" y="0"/>
          <a:chExt cx="0" cy="0"/>
        </a:xfrm>
      </p:grpSpPr>
      <p:graphicFrame>
        <p:nvGraphicFramePr>
          <p:cNvPr id="9" name="C2">
            <a:extLst>
              <a:ext uri="{FF2B5EF4-FFF2-40B4-BE49-F238E27FC236}">
                <a16:creationId xmlns:a16="http://schemas.microsoft.com/office/drawing/2014/main" id="{BE678AEC-A4B5-C9F9-80CE-D7E32C488EBE}"/>
              </a:ext>
            </a:extLst>
          </p:cNvPr>
          <p:cNvGraphicFramePr>
            <a:graphicFrameLocks/>
          </p:cNvGraphicFramePr>
          <p:nvPr/>
        </p:nvGraphicFramePr>
        <p:xfrm>
          <a:off x="907979" y="1138960"/>
          <a:ext cx="7740000" cy="5857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think-cell data - do not delete" hidden="1">
            <a:extLst>
              <a:ext uri="{FF2B5EF4-FFF2-40B4-BE49-F238E27FC236}">
                <a16:creationId xmlns:a16="http://schemas.microsoft.com/office/drawing/2014/main" id="{9EEAC255-6727-4085-14F1-21E806920E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883A24B6-D0A1-39B1-D984-08A87E034EF5}"/>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7/29/2025</a:t>
            </a:fld>
            <a:endParaRPr lang="en-US" noProof="0"/>
          </a:p>
        </p:txBody>
      </p:sp>
      <p:sp>
        <p:nvSpPr>
          <p:cNvPr id="4" name="Footer" hidden="1">
            <a:extLst>
              <a:ext uri="{FF2B5EF4-FFF2-40B4-BE49-F238E27FC236}">
                <a16:creationId xmlns:a16="http://schemas.microsoft.com/office/drawing/2014/main" id="{EC2C6277-90AE-34F1-0B49-8ACE302DD9FD}"/>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EC90219-A7DE-540F-C396-DE4AEAA21E4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15" name="Data Source">
            <a:extLst>
              <a:ext uri="{FF2B5EF4-FFF2-40B4-BE49-F238E27FC236}">
                <a16:creationId xmlns:a16="http://schemas.microsoft.com/office/drawing/2014/main" id="{B96ABA59-59CE-92E3-B26E-33B3646BE57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00F15F92-1E72-AF73-7DFB-9675DBA7F295}"/>
              </a:ext>
            </a:extLst>
          </p:cNvPr>
          <p:cNvSpPr>
            <a:spLocks noGrp="1"/>
          </p:cNvSpPr>
          <p:nvPr>
            <p:ph type="body" sz="quarter" idx="18"/>
          </p:nvPr>
        </p:nvSpPr>
        <p:spPr>
          <a:xfrm>
            <a:off x="503238" y="774000"/>
            <a:ext cx="8136762" cy="360000"/>
          </a:xfrm>
        </p:spPr>
        <p:txBody>
          <a:bodyPr/>
          <a:lstStyle/>
          <a:p>
            <a:r>
              <a:rPr lang="en-US" dirty="0"/>
              <a:t>Seasonality Index | By Sector | National | P3Y</a:t>
            </a:r>
          </a:p>
        </p:txBody>
      </p:sp>
      <p:sp>
        <p:nvSpPr>
          <p:cNvPr id="10" name="Title">
            <a:extLst>
              <a:ext uri="{FF2B5EF4-FFF2-40B4-BE49-F238E27FC236}">
                <a16:creationId xmlns:a16="http://schemas.microsoft.com/office/drawing/2014/main" id="{282858EF-8996-5EED-CB80-83A6E21B8CB3}"/>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AE7F43B-898E-480F-59F3-2AF75BCF1981}"/>
              </a:ext>
            </a:extLst>
          </p:cNvPr>
          <p:cNvGraphicFramePr>
            <a:graphicFrameLocks noGrp="1"/>
          </p:cNvGraphicFramePr>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574921">
                <a:tc>
                  <a:txBody>
                    <a:bodyPr/>
                    <a:lstStyle/>
                    <a:p>
                      <a:pPr algn="ctr" fontAlgn="b"/>
                      <a:r>
                        <a:rPr lang="en-US" sz="800" b="0" kern="1200">
                          <a:solidFill>
                            <a:srgbClr val="575555"/>
                          </a:solidFill>
                          <a:latin typeface="Nexa Bold"/>
                          <a:ea typeface="+mn-ea"/>
                          <a:cs typeface="+mn-cs"/>
                        </a:rPr>
                        <a:t>Beer</a:t>
                      </a:r>
                    </a:p>
                  </a:txBody>
                  <a:tcPr marL="4763" marR="4763" marT="4763" marB="0" vert="vert270" anchor="ctr">
                    <a:solidFill>
                      <a:schemeClr val="bg1">
                        <a:lumMod val="95000"/>
                      </a:schemeClr>
                    </a:solidFill>
                  </a:tcPr>
                </a:tc>
                <a:extLst>
                  <a:ext uri="{0D108BD9-81ED-4DB2-BD59-A6C34878D82A}">
                    <a16:rowId xmlns:a16="http://schemas.microsoft.com/office/drawing/2014/main" val="2185244123"/>
                  </a:ext>
                </a:extLst>
              </a:tr>
              <a:tr h="574921">
                <a:tc>
                  <a:txBody>
                    <a:bodyPr/>
                    <a:lstStyle/>
                    <a:p>
                      <a:pPr algn="ctr" fontAlgn="b"/>
                      <a:r>
                        <a:rPr lang="en-US" sz="800" b="0" kern="1200">
                          <a:solidFill>
                            <a:srgbClr val="575555"/>
                          </a:solidFill>
                          <a:latin typeface="Nexa Bold"/>
                          <a:ea typeface="+mn-ea"/>
                          <a:cs typeface="+mn-cs"/>
                        </a:rPr>
                        <a:t>NRGB</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574921">
                <a:tc>
                  <a:txBody>
                    <a:bodyPr/>
                    <a:lstStyle/>
                    <a:p>
                      <a:pPr algn="ctr" fontAlgn="b"/>
                      <a:r>
                        <a:rPr lang="en-US" sz="800" b="0" kern="120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574921">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574921">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574921">
                <a:tc>
                  <a:txBody>
                    <a:bodyPr/>
                    <a:lstStyle/>
                    <a:p>
                      <a:pPr algn="ctr" fontAlgn="b"/>
                      <a:r>
                        <a:rPr lang="en-US" sz="800" b="0" kern="120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723B5DF6-FE6E-DB7A-FA74-49D5B6F8EA33}"/>
              </a:ext>
            </a:extLst>
          </p:cNvPr>
          <p:cNvGraphicFramePr>
            <a:graphicFrameLocks/>
          </p:cNvGraphicFramePr>
          <p:nvPr/>
        </p:nvGraphicFramePr>
        <p:xfrm>
          <a:off x="907981" y="1725153"/>
          <a:ext cx="7740000" cy="58579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2">
            <a:extLst>
              <a:ext uri="{FF2B5EF4-FFF2-40B4-BE49-F238E27FC236}">
                <a16:creationId xmlns:a16="http://schemas.microsoft.com/office/drawing/2014/main" id="{3D556AA6-9118-6215-BF32-A68619F3BA2A}"/>
              </a:ext>
            </a:extLst>
          </p:cNvPr>
          <p:cNvGraphicFramePr>
            <a:graphicFrameLocks/>
          </p:cNvGraphicFramePr>
          <p:nvPr/>
        </p:nvGraphicFramePr>
        <p:xfrm>
          <a:off x="907981" y="2874966"/>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5" name="C2">
            <a:extLst>
              <a:ext uri="{FF2B5EF4-FFF2-40B4-BE49-F238E27FC236}">
                <a16:creationId xmlns:a16="http://schemas.microsoft.com/office/drawing/2014/main" id="{F7BFE405-F459-8E06-73F0-AA291BEF8F01}"/>
              </a:ext>
            </a:extLst>
          </p:cNvPr>
          <p:cNvGraphicFramePr>
            <a:graphicFrameLocks/>
          </p:cNvGraphicFramePr>
          <p:nvPr/>
        </p:nvGraphicFramePr>
        <p:xfrm>
          <a:off x="907980" y="2318334"/>
          <a:ext cx="7740000" cy="5566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6" name="C2">
            <a:extLst>
              <a:ext uri="{FF2B5EF4-FFF2-40B4-BE49-F238E27FC236}">
                <a16:creationId xmlns:a16="http://schemas.microsoft.com/office/drawing/2014/main" id="{122DB804-8F64-63C6-36D5-C84BB8890B23}"/>
              </a:ext>
            </a:extLst>
          </p:cNvPr>
          <p:cNvGraphicFramePr>
            <a:graphicFrameLocks/>
          </p:cNvGraphicFramePr>
          <p:nvPr/>
        </p:nvGraphicFramePr>
        <p:xfrm>
          <a:off x="907981" y="3431840"/>
          <a:ext cx="7740000" cy="59709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C2">
            <a:extLst>
              <a:ext uri="{FF2B5EF4-FFF2-40B4-BE49-F238E27FC236}">
                <a16:creationId xmlns:a16="http://schemas.microsoft.com/office/drawing/2014/main" id="{95C8C92F-978E-694A-EB7F-CD48B70EDA43}"/>
              </a:ext>
            </a:extLst>
          </p:cNvPr>
          <p:cNvGraphicFramePr>
            <a:graphicFrameLocks/>
          </p:cNvGraphicFramePr>
          <p:nvPr/>
        </p:nvGraphicFramePr>
        <p:xfrm>
          <a:off x="907981" y="4029177"/>
          <a:ext cx="7740000" cy="750642"/>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9219892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7/29/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a:highlight>
                            <a:srgbClr val="FFFF00"/>
                          </a:highlight>
                          <a:latin typeface="Nexa Bold" panose="00000800000000000000" pitchFamily="2" charset="0"/>
                        </a:rPr>
                        <a:t>Kaufland</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016475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524668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B1BB7-0332-B88C-6619-0986C527E75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83FC888-5F26-8EB6-D0E3-95394288A47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AA8D690-7502-DA41-FEC8-0B8878AD7C4D}"/>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7/29/2025</a:t>
            </a:fld>
            <a:endParaRPr lang="en-US" noProof="0"/>
          </a:p>
        </p:txBody>
      </p:sp>
      <p:sp>
        <p:nvSpPr>
          <p:cNvPr id="2" name="Footer Placeholder 1">
            <a:extLst>
              <a:ext uri="{FF2B5EF4-FFF2-40B4-BE49-F238E27FC236}">
                <a16:creationId xmlns:a16="http://schemas.microsoft.com/office/drawing/2014/main" id="{66107D41-CF1E-DEF7-E36E-2F9BBF21962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CFCE79D-D48C-971A-FEDA-189A66F55B5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4" name="Text Placeholder 3">
            <a:extLst>
              <a:ext uri="{FF2B5EF4-FFF2-40B4-BE49-F238E27FC236}">
                <a16:creationId xmlns:a16="http://schemas.microsoft.com/office/drawing/2014/main" id="{DEEAB759-D984-C34D-E421-C858B285971B}"/>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6206781B-F7E9-C270-6371-CAA70F71363A}"/>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04A4CE9A-975A-EB66-B458-C49A28474E63}"/>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36DCD526-CC4E-88E3-27A8-6CC5E3D60C91}"/>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A94F9C3B-C5BF-23EA-4A7F-4DF025209883}"/>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7BC1835-4097-DEF2-FFEF-AECDAE757A21}"/>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FD7CD205-0326-1EA9-C370-F8E9863E18A0}"/>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15" name="Table 14">
            <a:extLst>
              <a:ext uri="{FF2B5EF4-FFF2-40B4-BE49-F238E27FC236}">
                <a16:creationId xmlns:a16="http://schemas.microsoft.com/office/drawing/2014/main" id="{6064F70F-20AA-3AA4-E150-7E77F8111238}"/>
              </a:ext>
            </a:extLst>
          </p:cNvPr>
          <p:cNvGraphicFramePr>
            <a:graphicFrameLocks noGrp="1"/>
          </p:cNvGraphicFramePr>
          <p:nvPr/>
        </p:nvGraphicFramePr>
        <p:xfrm>
          <a:off x="546968" y="1364051"/>
          <a:ext cx="801009" cy="287266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957556">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7" name="Chart 16">
            <a:extLst>
              <a:ext uri="{FF2B5EF4-FFF2-40B4-BE49-F238E27FC236}">
                <a16:creationId xmlns:a16="http://schemas.microsoft.com/office/drawing/2014/main" id="{DC110851-97B6-D171-DE71-0D1E5AF9BDB5}"/>
              </a:ext>
            </a:extLst>
          </p:cNvPr>
          <p:cNvGraphicFramePr/>
          <p:nvPr>
            <p:extLst>
              <p:ext uri="{D42A27DB-BD31-4B8C-83A1-F6EECF244321}">
                <p14:modId xmlns:p14="http://schemas.microsoft.com/office/powerpoint/2010/main" val="2645161283"/>
              </p:ext>
            </p:extLst>
          </p:nvPr>
        </p:nvGraphicFramePr>
        <p:xfrm>
          <a:off x="1347977" y="1366269"/>
          <a:ext cx="7300565"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4660185D-F73E-33A3-1659-B3CB7E065790}"/>
              </a:ext>
            </a:extLst>
          </p:cNvPr>
          <p:cNvGraphicFramePr/>
          <p:nvPr/>
        </p:nvGraphicFramePr>
        <p:xfrm>
          <a:off x="1347977" y="2315962"/>
          <a:ext cx="7292024" cy="9620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5560D566-CFA0-CB82-9821-A877BE9412B1}"/>
              </a:ext>
            </a:extLst>
          </p:cNvPr>
          <p:cNvGraphicFramePr/>
          <p:nvPr>
            <p:extLst>
              <p:ext uri="{D42A27DB-BD31-4B8C-83A1-F6EECF244321}">
                <p14:modId xmlns:p14="http://schemas.microsoft.com/office/powerpoint/2010/main" val="3625103377"/>
              </p:ext>
            </p:extLst>
          </p:nvPr>
        </p:nvGraphicFramePr>
        <p:xfrm>
          <a:off x="1347976" y="3278024"/>
          <a:ext cx="7300566" cy="15103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7998523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9777549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6F2A5-DBD1-6183-266E-7BE86D66DE1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371FAE5-2F64-DD77-CB90-903A08FC00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6AC208-DA89-A6A3-A884-845C6DCDC93E}"/>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26D5B2F0-F981-240A-2FBB-9AACD883931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4103ADAF-02C4-DF4E-65FB-8DDFC41C8C6D}"/>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D179FF8-F84C-C588-7117-E73BD453C01F}"/>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B07141CB-DEB2-7B63-561B-BD884F3201EE}"/>
              </a:ext>
            </a:extLst>
          </p:cNvPr>
          <p:cNvSpPr>
            <a:spLocks noGrp="1"/>
          </p:cNvSpPr>
          <p:nvPr>
            <p:ph type="body" sz="quarter" idx="18"/>
          </p:nvPr>
        </p:nvSpPr>
        <p:spPr>
          <a:xfrm>
            <a:off x="503238" y="774000"/>
            <a:ext cx="8136762" cy="360000"/>
          </a:xfrm>
        </p:spPr>
        <p:txBody>
          <a:bodyPr/>
          <a:lstStyle/>
          <a:p>
            <a:r>
              <a:rPr lang="en-GB" dirty="0"/>
              <a:t>Promotional Frequency Analysis | Economy | </a:t>
            </a:r>
            <a:r>
              <a:rPr lang="en-GB" dirty="0" err="1"/>
              <a:t>Bucegi</a:t>
            </a:r>
            <a:r>
              <a:rPr lang="en-GB" dirty="0"/>
              <a:t> | P12M</a:t>
            </a:r>
          </a:p>
        </p:txBody>
      </p:sp>
      <p:sp>
        <p:nvSpPr>
          <p:cNvPr id="20" name="Title 19">
            <a:extLst>
              <a:ext uri="{FF2B5EF4-FFF2-40B4-BE49-F238E27FC236}">
                <a16:creationId xmlns:a16="http://schemas.microsoft.com/office/drawing/2014/main" id="{6ABA3CE5-FEC1-1B17-6619-B7E8BA616072}"/>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A5DC073-21B5-16A1-D0D1-8C9DAA727F9D}"/>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1AB84F46-B1E9-AA76-1B1C-45D99A7CD1D7}"/>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630CA1B3-8FA2-738A-0EDD-2BC4AA11D0B7}"/>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AC3E286C-A597-6CAF-1963-CFDCB0FA9E61}"/>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18" name="Table 17">
            <a:extLst>
              <a:ext uri="{FF2B5EF4-FFF2-40B4-BE49-F238E27FC236}">
                <a16:creationId xmlns:a16="http://schemas.microsoft.com/office/drawing/2014/main" id="{22B3E0BE-E67D-26F4-F11D-C964DB076F17}"/>
              </a:ext>
            </a:extLst>
          </p:cNvPr>
          <p:cNvGraphicFramePr>
            <a:graphicFrameLocks noGrp="1"/>
          </p:cNvGraphicFramePr>
          <p:nvPr/>
        </p:nvGraphicFramePr>
        <p:xfrm>
          <a:off x="546968" y="1364051"/>
          <a:ext cx="801009" cy="285252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32267898"/>
                  </a:ext>
                </a:extLst>
              </a:tr>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713132">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713132">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9" name="Chart 18">
            <a:extLst>
              <a:ext uri="{FF2B5EF4-FFF2-40B4-BE49-F238E27FC236}">
                <a16:creationId xmlns:a16="http://schemas.microsoft.com/office/drawing/2014/main" id="{9B1673E6-73E0-EF8C-82ED-CD3A03B96FB8}"/>
              </a:ext>
            </a:extLst>
          </p:cNvPr>
          <p:cNvGraphicFramePr/>
          <p:nvPr>
            <p:extLst>
              <p:ext uri="{D42A27DB-BD31-4B8C-83A1-F6EECF244321}">
                <p14:modId xmlns:p14="http://schemas.microsoft.com/office/powerpoint/2010/main" val="3203422091"/>
              </p:ext>
            </p:extLst>
          </p:nvPr>
        </p:nvGraphicFramePr>
        <p:xfrm>
          <a:off x="1347977" y="1366269"/>
          <a:ext cx="7300565" cy="7080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Chart 20">
            <a:extLst>
              <a:ext uri="{FF2B5EF4-FFF2-40B4-BE49-F238E27FC236}">
                <a16:creationId xmlns:a16="http://schemas.microsoft.com/office/drawing/2014/main" id="{BD2D4B5E-F49A-3634-5C61-7F1B97F6B924}"/>
              </a:ext>
            </a:extLst>
          </p:cNvPr>
          <p:cNvGraphicFramePr/>
          <p:nvPr/>
        </p:nvGraphicFramePr>
        <p:xfrm>
          <a:off x="1347977" y="2088079"/>
          <a:ext cx="7292024" cy="70809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Chart 21">
            <a:extLst>
              <a:ext uri="{FF2B5EF4-FFF2-40B4-BE49-F238E27FC236}">
                <a16:creationId xmlns:a16="http://schemas.microsoft.com/office/drawing/2014/main" id="{F58FF1DC-468D-96E2-29C7-85AE66661781}"/>
              </a:ext>
            </a:extLst>
          </p:cNvPr>
          <p:cNvGraphicFramePr/>
          <p:nvPr/>
        </p:nvGraphicFramePr>
        <p:xfrm>
          <a:off x="1390519" y="2809891"/>
          <a:ext cx="7292024" cy="69828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Chart 22">
            <a:extLst>
              <a:ext uri="{FF2B5EF4-FFF2-40B4-BE49-F238E27FC236}">
                <a16:creationId xmlns:a16="http://schemas.microsoft.com/office/drawing/2014/main" id="{0274E9D7-6F0F-48AA-0251-3FC84CB38733}"/>
              </a:ext>
            </a:extLst>
          </p:cNvPr>
          <p:cNvGraphicFramePr/>
          <p:nvPr>
            <p:extLst>
              <p:ext uri="{D42A27DB-BD31-4B8C-83A1-F6EECF244321}">
                <p14:modId xmlns:p14="http://schemas.microsoft.com/office/powerpoint/2010/main" val="3988648183"/>
              </p:ext>
            </p:extLst>
          </p:nvPr>
        </p:nvGraphicFramePr>
        <p:xfrm>
          <a:off x="1347976" y="3521894"/>
          <a:ext cx="7300566" cy="1266514"/>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085089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7/29/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25993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7/29/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481369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7/29/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53722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7/29/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8065924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7/29/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8936995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7/29/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46637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9DC54F4-FA62-467D-956C-561D8E4CAD18}">
  <ds:schemaRefs>
    <ds:schemaRef ds:uri="474cf4e4-8a51-432b-9e1b-0ea607ac38ff"/>
    <ds:schemaRef ds:uri="http://purl.org/dc/elements/1.1/"/>
    <ds:schemaRef ds:uri="http://www.w3.org/XML/1998/namespace"/>
    <ds:schemaRef ds:uri="http://schemas.microsoft.com/office/infopath/2007/PartnerControls"/>
    <ds:schemaRef ds:uri="http://purl.org/dc/dcmitype/"/>
    <ds:schemaRef ds:uri="http://schemas.microsoft.com/office/2006/documentManagement/types"/>
    <ds:schemaRef ds:uri="0ad93b7f-b0cd-4c46-aaaf-ff14495948cf"/>
    <ds:schemaRef ds:uri="http://schemas.microsoft.com/office/2006/metadata/propertie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B4CCBFC5-8914-480B-85D5-05E1FE2691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7551193-7C66-436D-8ABA-4B99F0776D1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7</TotalTime>
  <Words>3803</Words>
  <Application>Microsoft Office PowerPoint</Application>
  <PresentationFormat>On-screen Show (16:9)</PresentationFormat>
  <Paragraphs>1401</Paragraphs>
  <Slides>30</Slides>
  <Notes>1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3" baseType="lpstr">
      <vt:lpstr>Aptos</vt:lpstr>
      <vt:lpstr>Arial</vt:lpstr>
      <vt:lpstr>Calibri</vt:lpstr>
      <vt:lpstr>Nexa</vt:lpstr>
      <vt:lpstr>Nexa Bold</vt:lpstr>
      <vt:lpstr>Nexa Bold (Headings)</vt:lpstr>
      <vt:lpstr>Nexa Book</vt:lpstr>
      <vt:lpstr>Nexa Book Italic</vt:lpstr>
      <vt:lpstr>Nexa-RegularItalic</vt:lpstr>
      <vt:lpstr>Open Sans</vt:lpstr>
      <vt:lpstr>Raleway</vt:lpstr>
      <vt:lpstr>PricingOne Light Template Oct 2024</vt:lpstr>
      <vt:lpstr>think-cell Slide</vt:lpstr>
      <vt:lpstr>Promo evolution (Replace With SO WHAT)</vt:lpstr>
      <vt:lpstr>VSOD Summary by Sector (Replace With SO WHAT)</vt:lpstr>
      <vt:lpstr>Value uplift by retailer by brand (Replace With SO WHAT)</vt:lpstr>
      <vt:lpstr>Volume Uplift vs discount depth (Replace With SO WHAT)</vt:lpstr>
      <vt:lpstr>Value Uplift vs Promo Efficiency Quadrant (Replace With SO WHAT)</vt:lpstr>
      <vt:lpstr>Top 20 promotions (Replace With SO WHAT)</vt:lpstr>
      <vt:lpstr>Top 20 promotions CLIENT ONLY (Replace With SO WHAT)</vt:lpstr>
      <vt:lpstr>Bottom 20 promotions CLIENT ONLY (Replace With SO WHAT)</vt:lpstr>
      <vt:lpstr>Volume Sold on Deal (Replace With SO WHAT)</vt:lpstr>
      <vt:lpstr>Promo share vs Value Share (Replace With SO WHAT)</vt:lpstr>
      <vt:lpstr>Promo Sales by total size (Replace With SO WHAT)</vt:lpstr>
      <vt:lpstr>Promo Sales by promo type (Replace With SO WHAT)</vt:lpstr>
      <vt:lpstr>Feature Share vs. Fair Share (Replace With SO WHAT)</vt:lpstr>
      <vt:lpstr>Display Share vs. Fair Share (Replace With SO WHAT)</vt:lpstr>
      <vt:lpstr>Promo Frequency learnings (Replace With SO WHAT)</vt:lpstr>
      <vt:lpstr>Promo sales per retailer (Replace With SO WHAT)</vt:lpstr>
      <vt:lpstr>Promo sales per retailer (Replace With SO WHAT)</vt:lpstr>
      <vt:lpstr>Promo sales per retailer (Replace With SO WHAT)</vt:lpstr>
      <vt:lpstr>Promo sales per retailer (Replace With SO WHAT)</vt:lpstr>
      <vt:lpstr>Value Uplift vs discount depth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hagya RANASINGHE</dc:creator>
  <cp:lastModifiedBy>Aleaa SALAH</cp:lastModifiedBy>
  <cp:revision>58</cp:revision>
  <dcterms:created xsi:type="dcterms:W3CDTF">2024-07-08T12:46:55Z</dcterms:created>
  <dcterms:modified xsi:type="dcterms:W3CDTF">2025-07-29T10:4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